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59" r:id="rId2"/>
    <p:sldMasterId id="2147483771" r:id="rId3"/>
    <p:sldMasterId id="2147483783" r:id="rId4"/>
    <p:sldMasterId id="2147483795" r:id="rId5"/>
  </p:sldMasterIdLst>
  <p:notesMasterIdLst>
    <p:notesMasterId r:id="rId24"/>
  </p:notesMasterIdLst>
  <p:sldIdLst>
    <p:sldId id="1519" r:id="rId6"/>
    <p:sldId id="303" r:id="rId7"/>
    <p:sldId id="378" r:id="rId8"/>
    <p:sldId id="265" r:id="rId9"/>
    <p:sldId id="1981" r:id="rId10"/>
    <p:sldId id="1870" r:id="rId11"/>
    <p:sldId id="1982" r:id="rId12"/>
    <p:sldId id="1871" r:id="rId13"/>
    <p:sldId id="2010" r:id="rId14"/>
    <p:sldId id="300" r:id="rId15"/>
    <p:sldId id="1975" r:id="rId16"/>
    <p:sldId id="1992" r:id="rId17"/>
    <p:sldId id="324" r:id="rId18"/>
    <p:sldId id="325" r:id="rId19"/>
    <p:sldId id="1987" r:id="rId20"/>
    <p:sldId id="1988" r:id="rId21"/>
    <p:sldId id="1989" r:id="rId22"/>
    <p:sldId id="279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04" autoAdjust="0"/>
  </p:normalViewPr>
  <p:slideViewPr>
    <p:cSldViewPr snapToGrid="0" showGuides="1">
      <p:cViewPr varScale="1">
        <p:scale>
          <a:sx n="73" d="100"/>
          <a:sy n="73" d="100"/>
        </p:scale>
        <p:origin x="404" y="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17538528581277E-2"/>
          <c:y val="0.14668053441789772"/>
          <c:w val="0.93232823573047741"/>
          <c:h val="0.828864650113228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s P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404-49B8-9864-9A3C44035EC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04-49B8-9864-9A3C44035EC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404-49B8-9864-9A3C44035EC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404-49B8-9864-9A3C44035EC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404-49B8-9864-9A3C44035EC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404-49B8-9864-9A3C44035EC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404-49B8-9864-9A3C44035EC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404-49B8-9864-9A3C44035EC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404-49B8-9864-9A3C44035ECD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404-49B8-9864-9A3C44035ECD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404-49B8-9864-9A3C44035E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6</c:v>
                </c:pt>
                <c:pt idx="7">
                  <c:v>17</c:v>
                </c:pt>
                <c:pt idx="8">
                  <c:v>18</c:v>
                </c:pt>
                <c:pt idx="9">
                  <c:v>19</c:v>
                </c:pt>
                <c:pt idx="10">
                  <c:v>20</c:v>
                </c:pt>
              </c:numCache>
            </c:numRef>
          </c:cat>
          <c:val>
            <c:numRef>
              <c:f>Sheet1!$B$2:$B$12</c:f>
              <c:numCache>
                <c:formatCode>_(* #,##0_);_(* \(#,##0\);_(* "-"??_);_(@_)</c:formatCode>
                <c:ptCount val="11"/>
                <c:pt idx="0">
                  <c:v>1697.2836709999999</c:v>
                </c:pt>
                <c:pt idx="1">
                  <c:v>1883.3000159999999</c:v>
                </c:pt>
                <c:pt idx="2">
                  <c:v>1971.56349</c:v>
                </c:pt>
                <c:pt idx="3">
                  <c:v>1993.54859956</c:v>
                </c:pt>
                <c:pt idx="4">
                  <c:v>2098.8717304699999</c:v>
                </c:pt>
                <c:pt idx="5">
                  <c:v>2161.02871</c:v>
                </c:pt>
                <c:pt idx="6">
                  <c:v>2166.2780851400003</c:v>
                </c:pt>
                <c:pt idx="7">
                  <c:v>2129.77093242</c:v>
                </c:pt>
                <c:pt idx="8">
                  <c:v>2146.0372149499999</c:v>
                </c:pt>
                <c:pt idx="9">
                  <c:v>2254.7022846300001</c:v>
                </c:pt>
                <c:pt idx="10">
                  <c:v>2449.20412907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04-49B8-9864-9A3C44035E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2"/>
        <c:overlap val="-27"/>
        <c:axId val="1951610015"/>
        <c:axId val="1951608767"/>
      </c:barChart>
      <c:catAx>
        <c:axId val="195161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1608767"/>
        <c:crosses val="autoZero"/>
        <c:auto val="1"/>
        <c:lblAlgn val="ctr"/>
        <c:lblOffset val="100"/>
        <c:noMultiLvlLbl val="0"/>
      </c:catAx>
      <c:valAx>
        <c:axId val="1951608767"/>
        <c:scaling>
          <c:orientation val="minMax"/>
          <c:min val="15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1610015"/>
        <c:crosses val="autoZero"/>
        <c:crossBetween val="between"/>
        <c:majorUnit val="2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ED463F-7CA7-42D7-BFA0-971E43AB94C6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D9439C-491E-4BCF-8677-F438E1CF0C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238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7173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96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541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7122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331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754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5961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5342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5977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645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7948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1546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244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C38C6-B37B-44C0-9B7D-3309B5AF36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3CAD52-4CAC-4EED-BAAC-92BF933436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E7946E-DEDF-4AE5-B87A-80A00AF87C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12C8C1-DFCD-47C2-833B-94930FFD5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FACFA-913B-4E7F-939B-A71D6C65A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4954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1C2EA-ABB7-4AC8-B4FF-725AC2794D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81DA0E-7D6A-4DF5-9E87-94FCB178AA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A14C12-7A84-4DE2-8F2A-69B678CB7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46AB57-3C70-4F23-9031-CCED0D8E6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651E42-C616-4825-BC95-C24397302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513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62AC86-CFEC-4F8E-BED9-03150E4850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CF1846-F395-41E6-B5FC-F9999F5730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1D8021-422F-413E-BB71-611BD9ACAA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35FF6F-9D21-48BB-A9DC-9F7AD68FB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21DBA-1FAC-42E5-88D2-ACEC025D9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6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2918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98924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4A0983-4F5C-41C9-83D7-8A2139929D0D}"/>
              </a:ext>
            </a:extLst>
          </p:cNvPr>
          <p:cNvSpPr/>
          <p:nvPr userDrawn="1"/>
        </p:nvSpPr>
        <p:spPr>
          <a:xfrm>
            <a:off x="11964318" y="3855904"/>
            <a:ext cx="227682" cy="1079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1196E6-0563-4E52-B871-19307FE36E1D}"/>
              </a:ext>
            </a:extLst>
          </p:cNvPr>
          <p:cNvSpPr/>
          <p:nvPr userDrawn="1"/>
        </p:nvSpPr>
        <p:spPr>
          <a:xfrm>
            <a:off x="5376231" y="6666390"/>
            <a:ext cx="1476261" cy="1793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26496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8505207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2888497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5412537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7046131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03D806-E833-4ED1-80A4-8D1CD59D5789}"/>
              </a:ext>
            </a:extLst>
          </p:cNvPr>
          <p:cNvSpPr/>
          <p:nvPr userDrawn="1"/>
        </p:nvSpPr>
        <p:spPr>
          <a:xfrm>
            <a:off x="12019402" y="3811836"/>
            <a:ext cx="172598" cy="11237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7F7E1F-9D08-436B-B881-EB3EABCDF829}"/>
              </a:ext>
            </a:extLst>
          </p:cNvPr>
          <p:cNvSpPr/>
          <p:nvPr userDrawn="1"/>
        </p:nvSpPr>
        <p:spPr>
          <a:xfrm rot="5400000">
            <a:off x="5968062" y="6061706"/>
            <a:ext cx="222823" cy="13697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14665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FB162-51CC-4225-83BA-924305A02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58BDF7-630D-4C6C-AFDF-A67C0F0ABE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C83670-15E2-45C2-A235-BD6961D2C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88F1BC-7BA5-4D7A-A787-344781C5C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A1E65-5004-4C3A-9EBD-67D3D786A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511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2123289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6834940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3981037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72821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5742151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578801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8317396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7353881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3101696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4923896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7E2A7-2F01-4E65-A2F0-389131D28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5CEA41-95BF-437E-B37B-BAB2CE580C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4D541B-E1FB-4C3A-98CE-3AB1EA39C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A73772-BDA1-48AC-8519-E34BD6D71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E74BFD-4690-49B8-AE61-088AD7E95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2105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4749745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459082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7290977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2275280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0870810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Rectángulo 7"/>
          <p:cNvSpPr/>
          <p:nvPr userDrawn="1"/>
        </p:nvSpPr>
        <p:spPr>
          <a:xfrm rot="16200000">
            <a:off x="11477540" y="4272183"/>
            <a:ext cx="11673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56119658"/>
      </p:ext>
    </p:extLst>
  </p:cSld>
  <p:clrMapOvr>
    <a:masterClrMapping/>
  </p:clrMapOvr>
  <p:transition>
    <p:fade/>
  </p:transition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17907643"/>
      </p:ext>
    </p:extLst>
  </p:cSld>
  <p:clrMapOvr>
    <a:masterClrMapping/>
  </p:clrMapOvr>
  <p:transition>
    <p:fade/>
  </p:transition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9749469"/>
      </p:ext>
    </p:extLst>
  </p:cSld>
  <p:clrMapOvr>
    <a:masterClrMapping/>
  </p:clrMapOvr>
  <p:transition>
    <p:fade/>
  </p:transition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10199806"/>
      </p:ext>
    </p:extLst>
  </p:cSld>
  <p:clrMapOvr>
    <a:masterClrMapping/>
  </p:clrMapOvr>
  <p:transition>
    <p:fade/>
  </p:transition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5846463"/>
      </p:ext>
    </p:extLst>
  </p:cSld>
  <p:clrMapOvr>
    <a:masterClrMapping/>
  </p:clrMapOvr>
  <p:transition>
    <p:fade/>
  </p:transition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266C2A-82A6-4643-87F5-43F1C7896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C1935B-79CC-4E2C-AEF4-B30BFA4744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49A3F4-2FD4-4732-BBCC-28B9E3D3CC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576F06-8CC8-4126-B0FA-D29290030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5526F0-99BE-4912-B9D7-22928D9CE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6F377C-8084-4772-B3B7-5379CACCA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8593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3520320"/>
      </p:ext>
    </p:extLst>
  </p:cSld>
  <p:clrMapOvr>
    <a:masterClrMapping/>
  </p:clrMapOvr>
  <p:transition>
    <p:fade/>
  </p:transition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127011"/>
      </p:ext>
    </p:extLst>
  </p:cSld>
  <p:clrMapOvr>
    <a:masterClrMapping/>
  </p:clrMapOvr>
  <p:transition>
    <p:fade/>
  </p:transition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31316449"/>
      </p:ext>
    </p:extLst>
  </p:cSld>
  <p:clrMapOvr>
    <a:masterClrMapping/>
  </p:clrMapOvr>
  <p:transition>
    <p:fade/>
  </p:transition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89879226"/>
      </p:ext>
    </p:extLst>
  </p:cSld>
  <p:clrMapOvr>
    <a:masterClrMapping/>
  </p:clrMapOvr>
  <p:transition>
    <p:fade/>
  </p:transition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7059846"/>
      </p:ext>
    </p:extLst>
  </p:cSld>
  <p:clrMapOvr>
    <a:masterClrMapping/>
  </p:clrMapOvr>
  <p:transition>
    <p:fade/>
  </p:transition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62802752"/>
      </p:ext>
    </p:extLst>
  </p:cSld>
  <p:clrMapOvr>
    <a:masterClrMapping/>
  </p:clrMapOvr>
  <p:transition>
    <p:fade/>
  </p:transition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8B0B57-7E80-4A21-AA96-EABBF9A061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4360E1-0AC2-4F0D-8354-C4B6691CE3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927AB5-27B6-4EE5-A77C-60CB976F2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47119F-D11C-42AD-840F-34A7C1A0C5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48D63B-18DB-4B6A-A653-F1B04B0A2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784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DA4DB-BE25-4E7F-A367-BFCAF1BB3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641CC8-7376-4F34-8AA4-DA5807B54E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F620B7-BD5E-4945-AA34-104A6335E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C71C90-18C4-41BA-A6C6-04B7F74AA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D145D3-ACEC-48DD-9B9B-00263DB9D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1948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47C2A4-4E07-4E4C-AE3F-B11400231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CCF46A-2489-4D80-AD78-D76D670616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CD2190-B4ED-4279-B657-8F9DC8B9D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641973-EF69-472A-80B7-0709D8E88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74B78-8F84-43F7-B1D8-19C7F574B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2076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8B982-81EF-4C95-87F6-EBC163F07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2C2CD-CC8C-426C-92E1-23388BB2D1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F66673-86AA-4286-A033-3B7C82BFE4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F4D206-E721-4EE1-8679-113BD1170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57324E-1D88-4A22-8AEC-808DBBDF1C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2EC3CC-1CEC-4A68-9558-2018F3212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26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6068C-3A98-437A-855C-FAD96710A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12EA11-1E60-4894-BC02-5462C62FD7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42DD0A-A4B0-4229-A6FA-CD410BBBB9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411130-92BF-4EC8-B452-AC14183CBC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CBB73E-119F-46A8-A7D1-0740494FE2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261FFA-C41C-4A6D-A4EA-EA41E3CA8F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A30CF-FE63-45F2-97B7-7144D0BC2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691834-F1ED-4A7B-9A79-A3C94F11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8654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C7BF1-DE09-4FAD-8E92-EACAEDDE0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7D8DB7-F3E6-4D9B-A789-ECDFA683F0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69B420-8D97-4EED-A8A9-04F5C520D5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975323-93CD-4E13-A49B-7E0E521EF9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39137F8-0C58-49F6-AEF1-84EB7AA917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BCE2F8-6EB4-4BF3-9AD6-3700CD0DA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F6FA497-469F-43C7-AED7-AFDA2C7E1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148E3BD-0D49-4C49-98CA-D6ADED86B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92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F3786-683C-444A-9CD5-1989BEC84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8FA700-1739-46B8-9DA5-ED6B9EDFE4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6DBEF8-C2D6-4398-8F06-EA6F2C7C4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9C5F3B-D93F-4EF6-89BE-EE35B8EE3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4113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30543C-881A-43DD-8B42-FF8331FEC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ED07B6-A20E-4AE9-BD4F-84F95D386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C05622-1758-4098-B8E5-04289D086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888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67D2B-BC0E-4DAD-A74E-94FE9A9A6A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C3BCCA-BCD7-4BFA-A6F3-F17DB9178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387A72-00AF-4361-BBC3-E9EE5347D5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A5006A-3DEE-4D07-8869-AE00A87D0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D87EF4-FED5-4630-AFB0-07001C299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F972A0-7042-4405-BCAB-8EFBD91F2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3660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15F259-583F-479B-8A7F-63510D1C6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83C5636-7CAA-4F1F-926B-3D09B8C84E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30DE62-6115-4964-9D40-C424B2C8D8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1A9A6A-1352-4A16-88D3-4B5877E32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AE0479-EF9B-4E30-82D3-7C3E94F64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2C75D7-E670-4428-A5F2-167940DFF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4049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BC570-C0C1-48D5-8523-78E6796D8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FD3400-2B8A-459B-A918-A97FAD859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F540B4-CD0C-4A7C-8F77-EAC80A49E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B2CB-C563-48D4-ADBB-FC166A7C1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2562-7ACB-482C-A7A6-ECEAC67CB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9743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896F3CF-0E37-4A7E-A4F5-E084F19F3CE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355A82-1F72-4898-8816-CB3AAF7FE9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641D1C-9100-437A-A65B-C5EE7FD412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6401AE-0F7B-490E-95CD-DEB14F316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E005C9-D970-47F4-AEF4-4C429C58C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14160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3774" y="1842986"/>
            <a:ext cx="6466627" cy="1181101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2400" b="1" spc="-30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3774" y="3176486"/>
            <a:ext cx="6466626" cy="981722"/>
          </a:xfrm>
        </p:spPr>
        <p:txBody>
          <a:bodyPr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2" name="Picture 5">
            <a:extLst>
              <a:ext uri="{FF2B5EF4-FFF2-40B4-BE49-F238E27FC236}">
                <a16:creationId xmlns:a16="http://schemas.microsoft.com/office/drawing/2014/main" id="{2CF35A64-14C0-4EE0-AC32-CCF1EC69DF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6718685"/>
            <a:ext cx="12192000" cy="13931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</p:pic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6817F9F-76C2-4F73-A0BE-ED13B12F52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774" y="6178153"/>
            <a:ext cx="6466626" cy="216606"/>
          </a:xfrm>
        </p:spPr>
        <p:txBody>
          <a:bodyPr>
            <a:normAutofit/>
          </a:bodyPr>
          <a:lstStyle>
            <a:lvl1pPr marL="0" indent="0" algn="l">
              <a:buNone/>
              <a:defRPr sz="10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17DACBEA-6CC4-4087-81FE-2D58F0B7B6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3774" y="352426"/>
            <a:ext cx="12573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790519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62686" y="1842986"/>
            <a:ext cx="6466627" cy="1181101"/>
          </a:xfrm>
        </p:spPr>
        <p:txBody>
          <a:bodyPr anchor="b">
            <a:normAutofit/>
          </a:bodyPr>
          <a:lstStyle>
            <a:lvl1pPr algn="ctr">
              <a:lnSpc>
                <a:spcPct val="90000"/>
              </a:lnSpc>
              <a:defRPr sz="2400" b="1" spc="-30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62686" y="3176486"/>
            <a:ext cx="6466626" cy="981722"/>
          </a:xfrm>
        </p:spPr>
        <p:txBody>
          <a:bodyPr>
            <a:noAutofit/>
          </a:bodyPr>
          <a:lstStyle>
            <a:lvl1pPr marL="0" indent="0" algn="ctr">
              <a:buNone/>
              <a:defRPr sz="1800" b="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2" name="Picture 5">
            <a:extLst>
              <a:ext uri="{FF2B5EF4-FFF2-40B4-BE49-F238E27FC236}">
                <a16:creationId xmlns:a16="http://schemas.microsoft.com/office/drawing/2014/main" id="{2CF35A64-14C0-4EE0-AC32-CCF1EC69DF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6718685"/>
            <a:ext cx="12192000" cy="13931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</p:pic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6817F9F-76C2-4F73-A0BE-ED13B12F52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2687" y="6178153"/>
            <a:ext cx="6466626" cy="216606"/>
          </a:xfrm>
        </p:spPr>
        <p:txBody>
          <a:bodyPr>
            <a:normAutofit/>
          </a:bodyPr>
          <a:lstStyle>
            <a:lvl1pPr marL="0" indent="0" algn="ctr">
              <a:buNone/>
              <a:defRPr sz="10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17DACBEA-6CC4-4087-81FE-2D58F0B7B6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67350" y="352426"/>
            <a:ext cx="12573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953320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en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707" y="266701"/>
            <a:ext cx="11431491" cy="369332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400" b="1" spc="-30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489200" y="6300335"/>
            <a:ext cx="8659446" cy="365125"/>
          </a:xfrm>
        </p:spPr>
        <p:txBody>
          <a:bodyPr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56888" y="6492693"/>
            <a:ext cx="355600" cy="168276"/>
          </a:xfrm>
        </p:spPr>
        <p:txBody>
          <a:bodyPr anchor="b"/>
          <a:lstStyle>
            <a:lvl1pPr>
              <a:defRPr sz="800">
                <a:solidFill>
                  <a:schemeClr val="bg2"/>
                </a:solidFill>
              </a:defRPr>
            </a:lvl1pPr>
          </a:lstStyle>
          <a:p>
            <a:fld id="{AD8668A5-F356-46BF-92E0-4330486313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>
          <a:xfrm>
            <a:off x="390707" y="914400"/>
            <a:ext cx="11426635" cy="5257800"/>
          </a:xfrm>
        </p:spPr>
        <p:txBody>
          <a:bodyPr/>
          <a:lstStyle>
            <a:lvl1pPr marL="0" indent="0">
              <a:lnSpc>
                <a:spcPct val="114000"/>
              </a:lnSpc>
              <a:spcAft>
                <a:spcPts val="1000"/>
              </a:spcAft>
              <a:buNone/>
              <a:defRPr sz="1800"/>
            </a:lvl1pPr>
            <a:lvl2pPr>
              <a:lnSpc>
                <a:spcPct val="114000"/>
              </a:lnSpc>
              <a:spcAft>
                <a:spcPts val="1000"/>
              </a:spcAft>
              <a:defRPr sz="1600"/>
            </a:lvl2pPr>
            <a:lvl3pPr>
              <a:lnSpc>
                <a:spcPct val="114000"/>
              </a:lnSpc>
              <a:spcAft>
                <a:spcPts val="1000"/>
              </a:spcAft>
              <a:defRPr sz="1400"/>
            </a:lvl3pPr>
            <a:lvl4pPr>
              <a:lnSpc>
                <a:spcPct val="114000"/>
              </a:lnSpc>
              <a:spcAft>
                <a:spcPts val="1000"/>
              </a:spcAft>
              <a:defRPr sz="1400"/>
            </a:lvl4pPr>
            <a:lvl5pPr>
              <a:lnSpc>
                <a:spcPct val="114000"/>
              </a:lnSpc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5BEE5ADE-7FCF-4790-AFEC-E11575711C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707" y="6464239"/>
            <a:ext cx="1542131" cy="263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896829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119DA-ACBD-4602-A5C0-EADEA6A8B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B1D7EA-C4CA-41AF-84DF-6AD084751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99B38-01E4-4AC4-89CC-210A4BC5D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398D80-C969-46D3-82D5-5E5D210B9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873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F023DC-E800-4CF2-9DC3-49FDD67750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2A3391-72BB-46DD-96D7-1D83C7369B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469B5C-0A25-480E-AE78-C619286DE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6949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8A8299-545F-4712-A904-2B60D701A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712FF2-A9FE-4C8F-8219-A95A69905B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CB12D8-D6AE-4B66-A2A2-FCDD817A5B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24B489-BC60-41D8-81B6-5E93EA2BE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5A4941-D090-4C75-8642-BC7AFEF8E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38E3C-414C-4818-8A00-8B1A6541B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814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3752BA-CCBC-4F95-AD7C-02674E0CB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6C8ED97-AF38-45FA-80C2-0383FDF23BB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9BA715-08C1-4B95-A384-A9A06BEA0B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B52687-9C50-4A9A-8D58-9BF86B5E6B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1B65B3-F45C-484B-94A0-0FBA32F30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8FCE00-3CA6-47AA-8584-114E3ECBB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694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11FEBE-9E15-498E-A98B-36041040D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0F463-4253-4883-A730-B709736E4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E1C04C-2707-496C-9AE4-56ABE30402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AF86F0-BDEE-4CB5-84A4-B96733856F2D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CA3D6E-1C85-4B0D-B211-4631C4B175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D86E12-4372-4098-B077-044EF01FD7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03F1DC1D-42A5-44C9-A709-F1321109FF89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831268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Rectángulo 7"/>
          <p:cNvSpPr/>
          <p:nvPr userDrawn="1"/>
        </p:nvSpPr>
        <p:spPr>
          <a:xfrm rot="16200000">
            <a:off x="11477540" y="4272183"/>
            <a:ext cx="11673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>
                <a:solidFill>
                  <a:schemeClr val="bg1">
                    <a:lumMod val="50000"/>
                  </a:schemeClr>
                </a:solidFill>
              </a:rPr>
              <a:t>Classified - Confidential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BE491D14-9D59-41D9-B9A5-E086BEDCC02C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0275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9225C0A1-88D3-4FEA-A909-50C7F11D2F27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21597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54A09C-00DB-4F49-AFDC-28E01802F799}" type="datetimeFigureOut">
              <a:rPr lang="es-ES" smtClean="0"/>
              <a:t>10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Classified - Confidential</a:t>
            </a:r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Rectángulo 7"/>
          <p:cNvSpPr/>
          <p:nvPr userDrawn="1"/>
        </p:nvSpPr>
        <p:spPr>
          <a:xfrm rot="16200000">
            <a:off x="11477540" y="4272183"/>
            <a:ext cx="11673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>
                <a:solidFill>
                  <a:schemeClr val="bg1">
                    <a:lumMod val="50000"/>
                  </a:schemeClr>
                </a:solidFill>
              </a:rPr>
              <a:t>Classified - Confidential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FC9628CC-842E-4656-BC31-5CB14725A070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37717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</p:sldLayoutIdLst>
  <p:transition>
    <p:fade/>
  </p:transition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1.png" descr="Screen Shot 2017-04-18 at 10.11.50 AM.png">
            <a:extLst>
              <a:ext uri="{FF2B5EF4-FFF2-40B4-BE49-F238E27FC236}">
                <a16:creationId xmlns:a16="http://schemas.microsoft.com/office/drawing/2014/main" id="{C7204CCB-F3F3-493B-A6C5-A151D726FC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r="46799"/>
          <a:stretch/>
        </p:blipFill>
        <p:spPr>
          <a:xfrm>
            <a:off x="-2641" y="0"/>
            <a:ext cx="12194641" cy="6858000"/>
          </a:xfrm>
          <a:prstGeom prst="rect">
            <a:avLst/>
          </a:prstGeom>
          <a:ln w="12700">
            <a:noFill/>
            <a:miter lim="400000"/>
          </a:ln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C026B6-49FA-4B6F-BEEB-7BEFEA1A3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94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9A9A4F-E9D8-4128-AE5E-BAB3D66FD9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54347"/>
            <a:ext cx="10515600" cy="48226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54825F-4B7F-4B75-B6A4-2720360BDB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8C9956-5445-4C35-9A58-1D3FDE066BCF}" type="datetimeFigureOut">
              <a:rPr lang="en-US" smtClean="0"/>
              <a:t>11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022920-6AD2-42D4-AE41-0FE3282E4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1F8777-7E3B-47F7-8B9F-25D766DFE5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66A6DEF3-736D-4F7F-9604-31F29ED1D935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977080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TCCC-UnityHeadline" panose="020B0605030303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7.png"/><Relationship Id="rId4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4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6.png"/><Relationship Id="rId5" Type="http://schemas.microsoft.com/office/2007/relationships/hdphoto" Target="../media/hdphoto3.wdp"/><Relationship Id="rId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jpe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2.png"/><Relationship Id="rId5" Type="http://schemas.openxmlformats.org/officeDocument/2006/relationships/image" Target="../media/image51.jp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55.png"/><Relationship Id="rId7" Type="http://schemas.openxmlformats.org/officeDocument/2006/relationships/image" Target="../media/image57.png"/><Relationship Id="rId12" Type="http://schemas.openxmlformats.org/officeDocument/2006/relationships/image" Target="../media/image5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4.png"/><Relationship Id="rId11" Type="http://schemas.openxmlformats.org/officeDocument/2006/relationships/image" Target="../media/image58.png"/><Relationship Id="rId5" Type="http://schemas.openxmlformats.org/officeDocument/2006/relationships/image" Target="../media/image23.png"/><Relationship Id="rId10" Type="http://schemas.openxmlformats.org/officeDocument/2006/relationships/image" Target="../media/image25.jpeg"/><Relationship Id="rId4" Type="http://schemas.openxmlformats.org/officeDocument/2006/relationships/image" Target="../media/image56.png"/><Relationship Id="rId9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7.png"/><Relationship Id="rId4" Type="http://schemas.openxmlformats.org/officeDocument/2006/relationships/image" Target="../media/image6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5" Type="http://schemas.openxmlformats.org/officeDocument/2006/relationships/chart" Target="../charts/chart1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microsoft.com/office/2007/relationships/hdphoto" Target="../media/hdphoto1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32.pn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7.png"/><Relationship Id="rId11" Type="http://schemas.openxmlformats.org/officeDocument/2006/relationships/image" Target="../media/image30.png"/><Relationship Id="rId5" Type="http://schemas.openxmlformats.org/officeDocument/2006/relationships/image" Target="../media/image26.pn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5.jpe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microsoft.com/office/2007/relationships/hdphoto" Target="../media/hdphoto2.wdp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120680-C44C-414D-9F02-C8DF42C9F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120680-C44C-414D-9F02-C8DF42C9F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B21B97-735A-4F59-BD47-FD947CDF86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5294BD-8458-4151-8D22-1386CDF81BEC}"/>
              </a:ext>
            </a:extLst>
          </p:cNvPr>
          <p:cNvSpPr/>
          <p:nvPr/>
        </p:nvSpPr>
        <p:spPr>
          <a:xfrm>
            <a:off x="585018" y="1417359"/>
            <a:ext cx="11371007" cy="5533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tegory Expansion!</a:t>
            </a: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otprint: Incidence &amp; Frequency</a:t>
            </a: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ffordability, Premiumness </a:t>
            </a: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yalty 		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ace: SOVI &amp; Pantry</a:t>
            </a:r>
          </a:p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stainability</a:t>
            </a:r>
            <a:b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Þ"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one-of-a kind WIN-WIN-WIN-WIN System Proposition - </a:t>
            </a: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40009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WIN</a:t>
            </a:r>
            <a:r>
              <a:rPr kumimoji="0" lang="de-DE" sz="3200" b="1" i="0" u="none" strike="noStrike" kern="1200" cap="none" spc="0" normalizeH="0" baseline="30000" noProof="0" dirty="0">
                <a:ln>
                  <a:noFill/>
                </a:ln>
                <a:solidFill>
                  <a:srgbClr val="F40009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4</a:t>
            </a:r>
          </a:p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Þ"/>
              <a:tabLst/>
              <a:defRPr/>
            </a:pPr>
            <a:endParaRPr kumimoji="0" lang="de-DE" sz="3200" b="1" i="0" u="none" strike="noStrike" kern="1200" cap="none" spc="0" normalizeH="0" baseline="30000" noProof="0" dirty="0">
              <a:ln>
                <a:noFill/>
              </a:ln>
              <a:solidFill>
                <a:srgbClr val="F40009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	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5651D1-C6E2-4B11-8AA4-0995A5A3D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6" y="274638"/>
            <a:ext cx="11582399" cy="490066"/>
          </a:xfrm>
        </p:spPr>
        <p:txBody>
          <a:bodyPr>
            <a:normAutofit fontScale="90000"/>
          </a:bodyPr>
          <a:lstStyle/>
          <a:p>
            <a:r>
              <a:rPr lang="de-DE" dirty="0"/>
              <a:t>Returnables/ Refillables are a powerful tool to drive Category Leadership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A73420-922D-49BA-A013-4D1A750B99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4632" y="3064319"/>
            <a:ext cx="3385237" cy="1895733"/>
          </a:xfrm>
          <a:prstGeom prst="rect">
            <a:avLst/>
          </a:prstGeom>
        </p:spPr>
      </p:pic>
      <p:pic>
        <p:nvPicPr>
          <p:cNvPr id="82951" name="Picture 7" descr="Coca-Cola MEHRWEG Glas, (24 x 0,2 l): Amazon.de: Lebensmittel &amp; Getränke">
            <a:extLst>
              <a:ext uri="{FF2B5EF4-FFF2-40B4-BE49-F238E27FC236}">
                <a16:creationId xmlns:a16="http://schemas.microsoft.com/office/drawing/2014/main" id="{067A0C36-9A25-4B6F-BEFF-6B160D354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8965" y="1073574"/>
            <a:ext cx="2457450" cy="1857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1" descr="Coca-Cola EU Dialogue on Twitter: &quot;Thanks to a new agreement with  @IoniqaCircular, we're taking steps to be at the forefront of the enhanced  recycling movement, which turns previously used plastic into new">
            <a:extLst>
              <a:ext uri="{FF2B5EF4-FFF2-40B4-BE49-F238E27FC236}">
                <a16:creationId xmlns:a16="http://schemas.microsoft.com/office/drawing/2014/main" id="{4CB6AE8D-3FC2-4DE7-B288-8636DE5BC3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7961" y="1417359"/>
            <a:ext cx="1729021" cy="129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CC4707-55D9-4069-BB73-9547DA0C7A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2B46BF9-5CDD-45D4-A71F-E8AA6C5F590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7813" t="42460" r="17945" b="53154"/>
          <a:stretch/>
        </p:blipFill>
        <p:spPr>
          <a:xfrm>
            <a:off x="8277226" y="2577833"/>
            <a:ext cx="1736315" cy="30079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C4F445F-01CB-4DD3-842C-C882C4AD9FB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2053" r="8985" b="94167"/>
          <a:stretch/>
        </p:blipFill>
        <p:spPr>
          <a:xfrm>
            <a:off x="11099390" y="7928"/>
            <a:ext cx="1092610" cy="4000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2D21E71-87F5-4D81-BF61-6708AC216FA9}"/>
              </a:ext>
            </a:extLst>
          </p:cNvPr>
          <p:cNvSpPr txBox="1"/>
          <p:nvPr/>
        </p:nvSpPr>
        <p:spPr>
          <a:xfrm>
            <a:off x="10461711" y="5881599"/>
            <a:ext cx="161230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AFRICA OU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RETURNABLES 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SUMMIT</a:t>
            </a:r>
          </a:p>
        </p:txBody>
      </p:sp>
    </p:spTree>
    <p:extLst>
      <p:ext uri="{BB962C8B-B14F-4D97-AF65-F5344CB8AC3E}">
        <p14:creationId xmlns:p14="http://schemas.microsoft.com/office/powerpoint/2010/main" val="29717826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co de bloque 8"/>
          <p:cNvSpPr/>
          <p:nvPr/>
        </p:nvSpPr>
        <p:spPr>
          <a:xfrm>
            <a:off x="2428493" y="3974299"/>
            <a:ext cx="6946967" cy="5779594"/>
          </a:xfrm>
          <a:prstGeom prst="blockArc">
            <a:avLst>
              <a:gd name="adj1" fmla="val 10800000"/>
              <a:gd name="adj2" fmla="val 64786"/>
              <a:gd name="adj3" fmla="val 0"/>
            </a:avLst>
          </a:prstGeom>
          <a:noFill/>
          <a:ln w="508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4745914" y="2913453"/>
            <a:ext cx="2312123" cy="231212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4968224" y="3579334"/>
            <a:ext cx="1928462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ning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3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folio</a:t>
            </a:r>
          </a:p>
        </p:txBody>
      </p:sp>
      <p:sp>
        <p:nvSpPr>
          <p:cNvPr id="30" name="Triángulo 29"/>
          <p:cNvSpPr/>
          <p:nvPr/>
        </p:nvSpPr>
        <p:spPr>
          <a:xfrm rot="8681921">
            <a:off x="8257439" y="4708754"/>
            <a:ext cx="482494" cy="415944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2964251">
            <a:off x="3089212" y="4708755"/>
            <a:ext cx="482494" cy="415945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1" name="Agrupar 40"/>
          <p:cNvGrpSpPr/>
          <p:nvPr/>
        </p:nvGrpSpPr>
        <p:grpSpPr>
          <a:xfrm>
            <a:off x="4333802" y="4607584"/>
            <a:ext cx="1108705" cy="1108704"/>
            <a:chOff x="6527417" y="1441544"/>
            <a:chExt cx="693385" cy="693386"/>
          </a:xfrm>
        </p:grpSpPr>
        <p:sp>
          <p:nvSpPr>
            <p:cNvPr id="35" name="Elipse 34"/>
            <p:cNvSpPr/>
            <p:nvPr/>
          </p:nvSpPr>
          <p:spPr>
            <a:xfrm>
              <a:off x="6527417" y="1441544"/>
              <a:ext cx="693385" cy="6933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6" name="Imagen 3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1060" y="1548265"/>
              <a:ext cx="445521" cy="479485"/>
            </a:xfrm>
            <a:prstGeom prst="rect">
              <a:avLst/>
            </a:prstGeom>
          </p:spPr>
        </p:pic>
      </p:grpSp>
      <p:sp>
        <p:nvSpPr>
          <p:cNvPr id="46" name="CuadroTexto 45"/>
          <p:cNvSpPr txBox="1"/>
          <p:nvPr/>
        </p:nvSpPr>
        <p:spPr>
          <a:xfrm>
            <a:off x="8396592" y="2001156"/>
            <a:ext cx="3112075" cy="9833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listic OBPPC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ordability+valu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al bottle</a:t>
            </a:r>
          </a:p>
        </p:txBody>
      </p:sp>
      <p:sp>
        <p:nvSpPr>
          <p:cNvPr id="47" name="Rectángulo 46"/>
          <p:cNvSpPr/>
          <p:nvPr/>
        </p:nvSpPr>
        <p:spPr>
          <a:xfrm>
            <a:off x="8193620" y="1865516"/>
            <a:ext cx="83241" cy="1118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370290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CC_ACCESS_01038_237.jpg">
            <a:extLst>
              <a:ext uri="{FF2B5EF4-FFF2-40B4-BE49-F238E27FC236}">
                <a16:creationId xmlns:a16="http://schemas.microsoft.com/office/drawing/2014/main" id="{DEB2100E-8BAE-42AC-94B0-C2303FA9BABE}"/>
              </a:ext>
            </a:extLst>
          </p:cNvPr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8" r="14918" b="-758"/>
          <a:stretch/>
        </p:blipFill>
        <p:spPr>
          <a:xfrm>
            <a:off x="392312" y="2069340"/>
            <a:ext cx="3764768" cy="3734988"/>
          </a:xfrm>
          <a:prstGeom prst="ellipse">
            <a:avLst/>
          </a:prstGeom>
          <a:ln w="76200">
            <a:solidFill>
              <a:schemeClr val="bg1"/>
            </a:solidFill>
          </a:ln>
        </p:spPr>
      </p:pic>
      <p:sp>
        <p:nvSpPr>
          <p:cNvPr id="37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2" y="474258"/>
            <a:ext cx="766393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lay a strategic role</a:t>
            </a:r>
            <a:endParaRPr kumimoji="0" lang="es-MX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CuadroTexto 38"/>
          <p:cNvSpPr txBox="1"/>
          <p:nvPr/>
        </p:nvSpPr>
        <p:spPr>
          <a:xfrm>
            <a:off x="1230157" y="942365"/>
            <a:ext cx="40312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our Portfolio and Business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916" y="318072"/>
            <a:ext cx="573024" cy="719328"/>
          </a:xfrm>
          <a:prstGeom prst="rect">
            <a:avLst/>
          </a:prstGeom>
        </p:spPr>
      </p:pic>
      <p:grpSp>
        <p:nvGrpSpPr>
          <p:cNvPr id="40" name="Agrupar 39"/>
          <p:cNvGrpSpPr/>
          <p:nvPr/>
        </p:nvGrpSpPr>
        <p:grpSpPr>
          <a:xfrm rot="5400000">
            <a:off x="2837918" y="4739690"/>
            <a:ext cx="1669053" cy="1670585"/>
            <a:chOff x="8935279" y="4229110"/>
            <a:chExt cx="1812817" cy="1814483"/>
          </a:xfrm>
        </p:grpSpPr>
        <p:sp>
          <p:nvSpPr>
            <p:cNvPr id="42" name="Elipse 41"/>
            <p:cNvSpPr/>
            <p:nvPr/>
          </p:nvSpPr>
          <p:spPr>
            <a:xfrm>
              <a:off x="8935279" y="4408625"/>
              <a:ext cx="1634968" cy="16349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3" name="Imagen 4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9250404" y="4660274"/>
              <a:ext cx="1050517" cy="1130600"/>
            </a:xfrm>
            <a:prstGeom prst="rect">
              <a:avLst/>
            </a:prstGeom>
          </p:spPr>
        </p:pic>
        <p:sp>
          <p:nvSpPr>
            <p:cNvPr id="44" name="Elipse 43"/>
            <p:cNvSpPr/>
            <p:nvPr/>
          </p:nvSpPr>
          <p:spPr>
            <a:xfrm>
              <a:off x="10368679" y="4321945"/>
              <a:ext cx="220933" cy="22093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Elipse 44"/>
            <p:cNvSpPr/>
            <p:nvPr/>
          </p:nvSpPr>
          <p:spPr>
            <a:xfrm>
              <a:off x="10582106" y="4660274"/>
              <a:ext cx="165990" cy="1659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Elipse 47"/>
            <p:cNvSpPr/>
            <p:nvPr/>
          </p:nvSpPr>
          <p:spPr>
            <a:xfrm>
              <a:off x="10070818" y="4229110"/>
              <a:ext cx="124711" cy="1247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CuadroTexto 3"/>
          <p:cNvSpPr txBox="1"/>
          <p:nvPr/>
        </p:nvSpPr>
        <p:spPr>
          <a:xfrm>
            <a:off x="5261366" y="2243752"/>
            <a:ext cx="6300714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e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hicle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sure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ordabilit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ow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PPC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r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oles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ost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bit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ching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re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opper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eds</a:t>
            </a: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gmented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ow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ximize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enue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tion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e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kages</a:t>
            </a: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endParaRPr lang="es-ES" sz="2200" dirty="0">
              <a:solidFill>
                <a:prstClr val="white"/>
              </a:solidFill>
              <a:latin typeface="Calibri" panose="020F0502020204030204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as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ttle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</a:t>
            </a:r>
            <a:r>
              <a:rPr lang="es-ES" sz="2200" b="1" dirty="0">
                <a:solidFill>
                  <a:srgbClr val="FFFF00"/>
                </a:solidFill>
                <a:latin typeface="Calibri" panose="020F0502020204030204"/>
              </a:rPr>
              <a:t>premium role</a:t>
            </a:r>
            <a:r>
              <a:rPr lang="es-ES" sz="2200" dirty="0">
                <a:solidFill>
                  <a:prstClr val="white"/>
                </a:solidFill>
                <a:latin typeface="Calibri" panose="020F0502020204030204"/>
              </a:rPr>
              <a:t> in IC </a:t>
            </a:r>
            <a:r>
              <a:rPr lang="es-ES" sz="2200" dirty="0" err="1">
                <a:solidFill>
                  <a:prstClr val="white"/>
                </a:solidFill>
                <a:latin typeface="Calibri" panose="020F0502020204030204"/>
              </a:rPr>
              <a:t>Channels</a:t>
            </a: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0" name="Conector recto 49"/>
          <p:cNvCxnSpPr/>
          <p:nvPr/>
        </p:nvCxnSpPr>
        <p:spPr>
          <a:xfrm>
            <a:off x="4959532" y="1964801"/>
            <a:ext cx="0" cy="4017056"/>
          </a:xfrm>
          <a:prstGeom prst="line">
            <a:avLst/>
          </a:prstGeom>
          <a:ln w="25400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124650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2" y="474258"/>
            <a:ext cx="760704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new Returnable Bottle Family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1230157" y="942365"/>
            <a:ext cx="61490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ready to deploy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70" y="419394"/>
            <a:ext cx="810768" cy="719328"/>
          </a:xfrm>
          <a:prstGeom prst="rect">
            <a:avLst/>
          </a:prstGeom>
        </p:spPr>
      </p:pic>
      <p:sp>
        <p:nvSpPr>
          <p:cNvPr id="6" name="Rectángulo redondeado 5"/>
          <p:cNvSpPr/>
          <p:nvPr/>
        </p:nvSpPr>
        <p:spPr>
          <a:xfrm>
            <a:off x="987552" y="2230664"/>
            <a:ext cx="5394960" cy="1577091"/>
          </a:xfrm>
          <a:prstGeom prst="roundRect">
            <a:avLst>
              <a:gd name="adj" fmla="val 14149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2700000" sx="102000" sy="102000" algn="tl" rotWithShape="0">
              <a:schemeClr val="tx1">
                <a:lumMod val="75000"/>
                <a:lumOff val="2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19">
            <a:extLst>
              <a:ext uri="{FF2B5EF4-FFF2-40B4-BE49-F238E27FC236}">
                <a16:creationId xmlns:a16="http://schemas.microsoft.com/office/drawing/2014/main" id="{18097677-58D9-4701-BEDB-49A9861F57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04970" y="2417231"/>
            <a:ext cx="1831340" cy="1246778"/>
          </a:xfrm>
          <a:prstGeom prst="rect">
            <a:avLst/>
          </a:prstGeom>
        </p:spPr>
      </p:pic>
      <p:pic>
        <p:nvPicPr>
          <p:cNvPr id="8" name="Picture 29">
            <a:extLst>
              <a:ext uri="{FF2B5EF4-FFF2-40B4-BE49-F238E27FC236}">
                <a16:creationId xmlns:a16="http://schemas.microsoft.com/office/drawing/2014/main" id="{4346CC5F-2900-410B-8E4E-867B0FFD4CB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0950" t="16634" r="6730" b="16080"/>
          <a:stretch/>
        </p:blipFill>
        <p:spPr>
          <a:xfrm>
            <a:off x="1377511" y="2406431"/>
            <a:ext cx="2438752" cy="1268376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>
            <a:off x="6743842" y="2440454"/>
            <a:ext cx="449148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our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ou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utes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y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mpatible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en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ee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ghtweigh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L @ 91g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rietary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ology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s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uction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2187105" y="1762409"/>
            <a:ext cx="31045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Ref Pet MS Universal Bottle</a:t>
            </a:r>
          </a:p>
        </p:txBody>
      </p:sp>
      <p:sp>
        <p:nvSpPr>
          <p:cNvPr id="13" name="Rectángulo redondeado 12"/>
          <p:cNvSpPr/>
          <p:nvPr/>
        </p:nvSpPr>
        <p:spPr>
          <a:xfrm>
            <a:off x="987552" y="4470944"/>
            <a:ext cx="5394960" cy="1577091"/>
          </a:xfrm>
          <a:prstGeom prst="roundRect">
            <a:avLst>
              <a:gd name="adj" fmla="val 14149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2700000" sx="102000" sy="102000" algn="tl" rotWithShape="0">
              <a:schemeClr val="tx1">
                <a:lumMod val="75000"/>
                <a:lumOff val="2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6743842" y="4615710"/>
            <a:ext cx="56737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lindrical Panel with 3 contact poi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uced scuff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gressive lightweigh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s labeling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2391551" y="4002689"/>
            <a:ext cx="26956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RGB SS Universal </a:t>
            </a:r>
            <a:r>
              <a:rPr lang="en-US" sz="2000" b="1" dirty="0">
                <a:solidFill>
                  <a:srgbClr val="E82101"/>
                </a:solidFill>
                <a:latin typeface="Calibri" panose="020F0502020204030204"/>
                <a:cs typeface="Times New Roman" panose="02020603050405020304" pitchFamily="18" charset="0"/>
              </a:rPr>
              <a:t>Bottl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1712FA3-34A2-4E26-A0C0-0E7DDB277F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2750" y="4660363"/>
            <a:ext cx="3082716" cy="12237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7760A5C-D234-4E18-9030-5C3B434872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3800" y="4674595"/>
            <a:ext cx="2427748" cy="1223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51444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co de bloque 8"/>
          <p:cNvSpPr/>
          <p:nvPr/>
        </p:nvSpPr>
        <p:spPr>
          <a:xfrm rot="5400000">
            <a:off x="-1962528" y="427380"/>
            <a:ext cx="7234794" cy="6019056"/>
          </a:xfrm>
          <a:prstGeom prst="blockArc">
            <a:avLst>
              <a:gd name="adj1" fmla="val 10800000"/>
              <a:gd name="adj2" fmla="val 64786"/>
              <a:gd name="adj3" fmla="val 0"/>
            </a:avLst>
          </a:prstGeom>
          <a:noFill/>
          <a:ln w="508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3392730" y="2300574"/>
            <a:ext cx="2543335" cy="254333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3500726" y="3408399"/>
            <a:ext cx="2333439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standing</a:t>
            </a:r>
            <a:endParaRPr kumimoji="0" lang="es-MX" sz="3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e</a:t>
            </a:r>
          </a:p>
        </p:txBody>
      </p:sp>
      <p:sp>
        <p:nvSpPr>
          <p:cNvPr id="30" name="Triángulo 29"/>
          <p:cNvSpPr/>
          <p:nvPr/>
        </p:nvSpPr>
        <p:spPr>
          <a:xfrm rot="14081921">
            <a:off x="3431681" y="5924616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8364251">
            <a:off x="3431679" y="542258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7571379" y="2822830"/>
            <a:ext cx="3112075" cy="1389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e of the art 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on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ealing and call to action 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ion</a:t>
            </a: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ángulo 46"/>
          <p:cNvSpPr/>
          <p:nvPr/>
        </p:nvSpPr>
        <p:spPr>
          <a:xfrm>
            <a:off x="7368407" y="2682555"/>
            <a:ext cx="83241" cy="1638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356" y="1813173"/>
            <a:ext cx="1060083" cy="1448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25049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2" y="474258"/>
            <a:ext cx="67017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ing consumer through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1230157" y="942365"/>
            <a:ext cx="41099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er connection strategy</a:t>
            </a:r>
          </a:p>
        </p:txBody>
      </p:sp>
      <p:sp>
        <p:nvSpPr>
          <p:cNvPr id="34" name="Rectángulo redondeado 33"/>
          <p:cNvSpPr/>
          <p:nvPr/>
        </p:nvSpPr>
        <p:spPr>
          <a:xfrm rot="5400000">
            <a:off x="2790208" y="2670929"/>
            <a:ext cx="2827881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ángulo redondeado 38"/>
          <p:cNvSpPr/>
          <p:nvPr/>
        </p:nvSpPr>
        <p:spPr>
          <a:xfrm rot="5400000">
            <a:off x="4791107" y="2670929"/>
            <a:ext cx="2827881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ángulo redondeado 39"/>
          <p:cNvSpPr/>
          <p:nvPr/>
        </p:nvSpPr>
        <p:spPr>
          <a:xfrm rot="5400000">
            <a:off x="6761967" y="2670929"/>
            <a:ext cx="2827881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ángulo redondeado 40"/>
          <p:cNvSpPr/>
          <p:nvPr/>
        </p:nvSpPr>
        <p:spPr>
          <a:xfrm rot="5400000">
            <a:off x="8753073" y="2670929"/>
            <a:ext cx="2827881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2" name="PIEZAS-CC-DESCUBRE_A.jpg">
            <a:extLst>
              <a:ext uri="{FF2B5EF4-FFF2-40B4-BE49-F238E27FC236}">
                <a16:creationId xmlns:a16="http://schemas.microsoft.com/office/drawing/2014/main" id="{8D58C3FA-AD9C-4D7D-A536-5191034B2CB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88" t="2818" r="4671" b="12110"/>
          <a:stretch/>
        </p:blipFill>
        <p:spPr>
          <a:xfrm>
            <a:off x="3304149" y="2309542"/>
            <a:ext cx="1800000" cy="2520000"/>
          </a:xfrm>
          <a:prstGeom prst="rect">
            <a:avLst/>
          </a:prstGeom>
          <a:ln>
            <a:noFill/>
          </a:ln>
        </p:spPr>
      </p:pic>
      <p:pic>
        <p:nvPicPr>
          <p:cNvPr id="43" name="Picture 1">
            <a:extLst>
              <a:ext uri="{FF2B5EF4-FFF2-40B4-BE49-F238E27FC236}">
                <a16:creationId xmlns:a16="http://schemas.microsoft.com/office/drawing/2014/main" id="{2049162F-78AF-4893-B328-D52FBBE745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75907" y="2309542"/>
            <a:ext cx="1800000" cy="2520000"/>
          </a:xfrm>
          <a:prstGeom prst="rect">
            <a:avLst/>
          </a:prstGeom>
        </p:spPr>
      </p:pic>
      <p:pic>
        <p:nvPicPr>
          <p:cNvPr id="44" name="Imagen 2">
            <a:extLst>
              <a:ext uri="{FF2B5EF4-FFF2-40B4-BE49-F238E27FC236}">
                <a16:creationId xmlns:a16="http://schemas.microsoft.com/office/drawing/2014/main" id="{3B14B0F1-FC9E-46E7-8935-A4B5F0B1CE0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43" t="2631" r="27759" b="4386"/>
          <a:stretch/>
        </p:blipFill>
        <p:spPr>
          <a:xfrm>
            <a:off x="9267013" y="2309542"/>
            <a:ext cx="1800000" cy="2520000"/>
          </a:xfrm>
          <a:prstGeom prst="rect">
            <a:avLst/>
          </a:prstGeom>
        </p:spPr>
      </p:pic>
      <p:pic>
        <p:nvPicPr>
          <p:cNvPr id="45" name="Imagen 6" descr="Imagen que contiene botella, mesa, interior, comida&#10;&#10;Descripción generada con confianza muy alta">
            <a:extLst>
              <a:ext uri="{FF2B5EF4-FFF2-40B4-BE49-F238E27FC236}">
                <a16:creationId xmlns:a16="http://schemas.microsoft.com/office/drawing/2014/main" id="{78454AD7-7643-4376-917F-F6F1982910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5047" y="2309542"/>
            <a:ext cx="1800000" cy="2520000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866704" y="3215599"/>
            <a:ext cx="1500283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the righ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s</a:t>
            </a:r>
          </a:p>
        </p:txBody>
      </p:sp>
      <p:sp>
        <p:nvSpPr>
          <p:cNvPr id="46" name="Flecha a la derecha con bandas 45"/>
          <p:cNvSpPr/>
          <p:nvPr/>
        </p:nvSpPr>
        <p:spPr>
          <a:xfrm>
            <a:off x="2497122" y="3343615"/>
            <a:ext cx="679114" cy="569814"/>
          </a:xfrm>
          <a:prstGeom prst="stripedRightArrow">
            <a:avLst>
              <a:gd name="adj1" fmla="val 44814"/>
              <a:gd name="adj2" fmla="val 70290"/>
            </a:avLst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16">
            <a:extLst>
              <a:ext uri="{FF2B5EF4-FFF2-40B4-BE49-F238E27FC236}">
                <a16:creationId xmlns:a16="http://schemas.microsoft.com/office/drawing/2014/main" id="{CB764BB9-537E-4735-B423-46C590D99BAC}"/>
              </a:ext>
            </a:extLst>
          </p:cNvPr>
          <p:cNvSpPr txBox="1"/>
          <p:nvPr/>
        </p:nvSpPr>
        <p:spPr>
          <a:xfrm>
            <a:off x="5566441" y="1801226"/>
            <a:ext cx="1253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Habit</a:t>
            </a:r>
          </a:p>
        </p:txBody>
      </p:sp>
      <p:sp>
        <p:nvSpPr>
          <p:cNvPr id="48" name="TextBox 17">
            <a:extLst>
              <a:ext uri="{FF2B5EF4-FFF2-40B4-BE49-F238E27FC236}">
                <a16:creationId xmlns:a16="http://schemas.microsoft.com/office/drawing/2014/main" id="{1CC02AD4-0D74-4090-8A2B-A36B88A63897}"/>
              </a:ext>
            </a:extLst>
          </p:cNvPr>
          <p:cNvSpPr txBox="1"/>
          <p:nvPr/>
        </p:nvSpPr>
        <p:spPr>
          <a:xfrm>
            <a:off x="7590404" y="1817047"/>
            <a:ext cx="12258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tration</a:t>
            </a:r>
          </a:p>
        </p:txBody>
      </p:sp>
      <p:sp>
        <p:nvSpPr>
          <p:cNvPr id="49" name="TextBox 18">
            <a:extLst>
              <a:ext uri="{FF2B5EF4-FFF2-40B4-BE49-F238E27FC236}">
                <a16:creationId xmlns:a16="http://schemas.microsoft.com/office/drawing/2014/main" id="{E874DC6F-3A24-41BA-9891-7ECE7A7FFE73}"/>
              </a:ext>
            </a:extLst>
          </p:cNvPr>
          <p:cNvSpPr txBox="1"/>
          <p:nvPr/>
        </p:nvSpPr>
        <p:spPr>
          <a:xfrm>
            <a:off x="9612654" y="1801226"/>
            <a:ext cx="11144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quency</a:t>
            </a:r>
          </a:p>
        </p:txBody>
      </p:sp>
      <p:sp>
        <p:nvSpPr>
          <p:cNvPr id="50" name="TextBox 28">
            <a:extLst>
              <a:ext uri="{FF2B5EF4-FFF2-40B4-BE49-F238E27FC236}">
                <a16:creationId xmlns:a16="http://schemas.microsoft.com/office/drawing/2014/main" id="{F6B0758C-39C6-4007-B086-FBE1D2E6FBD7}"/>
              </a:ext>
            </a:extLst>
          </p:cNvPr>
          <p:cNvSpPr txBox="1"/>
          <p:nvPr/>
        </p:nvSpPr>
        <p:spPr>
          <a:xfrm>
            <a:off x="3407123" y="1817047"/>
            <a:ext cx="16316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S consumption</a:t>
            </a:r>
          </a:p>
        </p:txBody>
      </p:sp>
      <p:sp>
        <p:nvSpPr>
          <p:cNvPr id="51" name="CuadroTexto 50"/>
          <p:cNvSpPr txBox="1"/>
          <p:nvPr/>
        </p:nvSpPr>
        <p:spPr>
          <a:xfrm>
            <a:off x="164592" y="5405620"/>
            <a:ext cx="2202395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Righ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ion Point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moments</a:t>
            </a:r>
          </a:p>
        </p:txBody>
      </p:sp>
      <p:sp>
        <p:nvSpPr>
          <p:cNvPr id="52" name="Flecha a la derecha con bandas 51"/>
          <p:cNvSpPr/>
          <p:nvPr/>
        </p:nvSpPr>
        <p:spPr>
          <a:xfrm>
            <a:off x="2497122" y="5613156"/>
            <a:ext cx="679114" cy="569814"/>
          </a:xfrm>
          <a:prstGeom prst="stripedRightArrow">
            <a:avLst>
              <a:gd name="adj1" fmla="val 44814"/>
              <a:gd name="adj2" fmla="val 70290"/>
            </a:avLst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ángulo redondeado 52"/>
          <p:cNvSpPr/>
          <p:nvPr/>
        </p:nvSpPr>
        <p:spPr>
          <a:xfrm rot="10800000">
            <a:off x="3304147" y="5300316"/>
            <a:ext cx="7761479" cy="1195495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4" name="Picture 19">
            <a:extLst>
              <a:ext uri="{FF2B5EF4-FFF2-40B4-BE49-F238E27FC236}">
                <a16:creationId xmlns:a16="http://schemas.microsoft.com/office/drawing/2014/main" id="{8175B1B2-9B54-4EB4-AC45-C5200FD780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70801" y="5486044"/>
            <a:ext cx="7253838" cy="947150"/>
          </a:xfrm>
          <a:prstGeom prst="rect">
            <a:avLst/>
          </a:prstGeom>
        </p:spPr>
      </p:pic>
      <p:pic>
        <p:nvPicPr>
          <p:cNvPr id="55" name="Imagen 5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3354" y="6087274"/>
            <a:ext cx="307319" cy="594486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90" y="426437"/>
            <a:ext cx="719328" cy="71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59845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1047825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will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te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’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xecution EDGE 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1230157" y="942365"/>
            <a:ext cx="95763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 our Quality Leadership</a:t>
            </a:r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90" y="426437"/>
            <a:ext cx="719328" cy="719328"/>
          </a:xfrm>
          <a:prstGeom prst="rect">
            <a:avLst/>
          </a:prstGeom>
        </p:spPr>
      </p:pic>
      <p:grpSp>
        <p:nvGrpSpPr>
          <p:cNvPr id="11" name="Agrupar 10"/>
          <p:cNvGrpSpPr/>
          <p:nvPr/>
        </p:nvGrpSpPr>
        <p:grpSpPr>
          <a:xfrm>
            <a:off x="5703548" y="3802302"/>
            <a:ext cx="847248" cy="952848"/>
            <a:chOff x="8277455" y="2064376"/>
            <a:chExt cx="847248" cy="952848"/>
          </a:xfrm>
        </p:grpSpPr>
        <p:pic>
          <p:nvPicPr>
            <p:cNvPr id="27" name="Imagen 2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66394" y="2446856"/>
              <a:ext cx="658309" cy="570368"/>
            </a:xfrm>
            <a:prstGeom prst="rect">
              <a:avLst/>
            </a:prstGeom>
          </p:spPr>
        </p:pic>
        <p:pic>
          <p:nvPicPr>
            <p:cNvPr id="28" name="Imagen 2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7455" y="2064376"/>
              <a:ext cx="629338" cy="492525"/>
            </a:xfrm>
            <a:prstGeom prst="rect">
              <a:avLst/>
            </a:prstGeom>
          </p:spPr>
        </p:pic>
      </p:grpSp>
      <p:pic>
        <p:nvPicPr>
          <p:cNvPr id="29" name="Imagen 2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9962" y="2151801"/>
            <a:ext cx="287310" cy="971186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698" y="5369959"/>
            <a:ext cx="834189" cy="834189"/>
          </a:xfrm>
          <a:prstGeom prst="rect">
            <a:avLst/>
          </a:prstGeom>
        </p:spPr>
      </p:pic>
      <p:pic>
        <p:nvPicPr>
          <p:cNvPr id="43" name="Imagen 4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740911" y="4185729"/>
            <a:ext cx="4813179" cy="185995"/>
          </a:xfrm>
          <a:prstGeom prst="rect">
            <a:avLst/>
          </a:prstGeom>
        </p:spPr>
      </p:pic>
      <p:cxnSp>
        <p:nvCxnSpPr>
          <p:cNvPr id="44" name="Conector recto 43"/>
          <p:cNvCxnSpPr/>
          <p:nvPr/>
        </p:nvCxnSpPr>
        <p:spPr>
          <a:xfrm>
            <a:off x="5503549" y="3448363"/>
            <a:ext cx="5939514" cy="0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CuadroTexto 49"/>
          <p:cNvSpPr txBox="1"/>
          <p:nvPr/>
        </p:nvSpPr>
        <p:spPr>
          <a:xfrm>
            <a:off x="7295231" y="5355274"/>
            <a:ext cx="239417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nd lov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lies convers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 Caps incre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tter experience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CuadroTexto 50"/>
          <p:cNvSpPr txBox="1"/>
          <p:nvPr/>
        </p:nvSpPr>
        <p:spPr>
          <a:xfrm>
            <a:off x="7295231" y="2259192"/>
            <a:ext cx="304853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ailability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 profit - margi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 - Transac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VI &amp; SOCI</a:t>
            </a:r>
          </a:p>
        </p:txBody>
      </p:sp>
      <p:sp>
        <p:nvSpPr>
          <p:cNvPr id="52" name="CuadroTexto 51"/>
          <p:cNvSpPr txBox="1"/>
          <p:nvPr/>
        </p:nvSpPr>
        <p:spPr>
          <a:xfrm>
            <a:off x="7295231" y="3879194"/>
            <a:ext cx="189661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u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enu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 of Market</a:t>
            </a:r>
          </a:p>
        </p:txBody>
      </p:sp>
      <p:sp>
        <p:nvSpPr>
          <p:cNvPr id="53" name="CuadroTexto 52"/>
          <p:cNvSpPr txBox="1"/>
          <p:nvPr/>
        </p:nvSpPr>
        <p:spPr>
          <a:xfrm>
            <a:off x="9268177" y="3879194"/>
            <a:ext cx="250971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 of Valu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DE/10k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b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ems per sto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consumer base</a:t>
            </a: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Conector recto 34"/>
          <p:cNvCxnSpPr/>
          <p:nvPr/>
        </p:nvCxnSpPr>
        <p:spPr>
          <a:xfrm>
            <a:off x="5503549" y="5133736"/>
            <a:ext cx="5939514" cy="0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Agrupar 15"/>
          <p:cNvGrpSpPr/>
          <p:nvPr/>
        </p:nvGrpSpPr>
        <p:grpSpPr>
          <a:xfrm>
            <a:off x="370590" y="2267377"/>
            <a:ext cx="4798129" cy="3862331"/>
            <a:chOff x="370590" y="2267377"/>
            <a:chExt cx="4798129" cy="3862331"/>
          </a:xfrm>
        </p:grpSpPr>
        <p:sp>
          <p:nvSpPr>
            <p:cNvPr id="32" name="Rectángulo redondeado 31"/>
            <p:cNvSpPr/>
            <p:nvPr/>
          </p:nvSpPr>
          <p:spPr>
            <a:xfrm>
              <a:off x="370590" y="2318387"/>
              <a:ext cx="4798129" cy="3811321"/>
            </a:xfrm>
            <a:prstGeom prst="roundRect">
              <a:avLst>
                <a:gd name="adj" fmla="val 11632"/>
              </a:avLst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2000" sy="102000" algn="tl" rotWithShape="0">
                <a:schemeClr val="tx1">
                  <a:lumMod val="75000"/>
                  <a:lumOff val="2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39">
              <a:extLst>
                <a:ext uri="{FF2B5EF4-FFF2-40B4-BE49-F238E27FC236}">
                  <a16:creationId xmlns:a16="http://schemas.microsoft.com/office/drawing/2014/main" id="{6E2FDD36-F945-4004-8889-E08702B7AFD3}"/>
                </a:ext>
              </a:extLst>
            </p:cNvPr>
            <p:cNvSpPr txBox="1"/>
            <p:nvPr/>
          </p:nvSpPr>
          <p:spPr>
            <a:xfrm rot="16200000">
              <a:off x="-107953" y="4116819"/>
              <a:ext cx="163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vance</a:t>
              </a:r>
            </a:p>
          </p:txBody>
        </p:sp>
        <p:sp>
          <p:nvSpPr>
            <p:cNvPr id="8" name="TextBox 40">
              <a:extLst>
                <a:ext uri="{FF2B5EF4-FFF2-40B4-BE49-F238E27FC236}">
                  <a16:creationId xmlns:a16="http://schemas.microsoft.com/office/drawing/2014/main" id="{F6E52A26-7427-4CA5-8A1A-D6DBC0EA4925}"/>
                </a:ext>
              </a:extLst>
            </p:cNvPr>
            <p:cNvSpPr txBox="1"/>
            <p:nvPr/>
          </p:nvSpPr>
          <p:spPr>
            <a:xfrm>
              <a:off x="1894558" y="5625355"/>
              <a:ext cx="20060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niqueness</a:t>
              </a:r>
            </a:p>
          </p:txBody>
        </p:sp>
        <p:sp>
          <p:nvSpPr>
            <p:cNvPr id="13" name="TextBox 88">
              <a:extLst>
                <a:ext uri="{FF2B5EF4-FFF2-40B4-BE49-F238E27FC236}">
                  <a16:creationId xmlns:a16="http://schemas.microsoft.com/office/drawing/2014/main" id="{5CA62F74-96E1-4EB6-8DEA-569A81ED3155}"/>
                </a:ext>
              </a:extLst>
            </p:cNvPr>
            <p:cNvSpPr txBox="1"/>
            <p:nvPr/>
          </p:nvSpPr>
          <p:spPr>
            <a:xfrm>
              <a:off x="1392466" y="2550857"/>
              <a:ext cx="3081429" cy="5316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turnables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’ EDGE</a:t>
              </a:r>
            </a:p>
          </p:txBody>
        </p:sp>
        <p:cxnSp>
          <p:nvCxnSpPr>
            <p:cNvPr id="21" name="Conector recto de flecha 20"/>
            <p:cNvCxnSpPr/>
            <p:nvPr/>
          </p:nvCxnSpPr>
          <p:spPr>
            <a:xfrm flipV="1">
              <a:off x="1022148" y="3085262"/>
              <a:ext cx="0" cy="2408876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cto de flecha 22"/>
            <p:cNvCxnSpPr/>
            <p:nvPr/>
          </p:nvCxnSpPr>
          <p:spPr>
            <a:xfrm>
              <a:off x="1022148" y="5494138"/>
              <a:ext cx="3610668" cy="0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Imagen 30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3633" y="2267377"/>
              <a:ext cx="427720" cy="446646"/>
            </a:xfrm>
            <a:prstGeom prst="rect">
              <a:avLst/>
            </a:prstGeom>
          </p:spPr>
        </p:pic>
        <p:sp>
          <p:nvSpPr>
            <p:cNvPr id="37" name="TextBox 20">
              <a:extLst>
                <a:ext uri="{FF2B5EF4-FFF2-40B4-BE49-F238E27FC236}">
                  <a16:creationId xmlns:a16="http://schemas.microsoft.com/office/drawing/2014/main" id="{2B48779C-3855-4231-90F1-FCFBB789A6A6}"/>
                </a:ext>
              </a:extLst>
            </p:cNvPr>
            <p:cNvSpPr txBox="1"/>
            <p:nvPr/>
          </p:nvSpPr>
          <p:spPr>
            <a:xfrm>
              <a:off x="2611273" y="4591046"/>
              <a:ext cx="97160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turnablesPortfolio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Availability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TextBox 21">
              <a:extLst>
                <a:ext uri="{FF2B5EF4-FFF2-40B4-BE49-F238E27FC236}">
                  <a16:creationId xmlns:a16="http://schemas.microsoft.com/office/drawing/2014/main" id="{0E97780E-2914-4A60-B93D-54B26F1D8EDF}"/>
                </a:ext>
              </a:extLst>
            </p:cNvPr>
            <p:cNvSpPr txBox="1"/>
            <p:nvPr/>
          </p:nvSpPr>
          <p:spPr>
            <a:xfrm>
              <a:off x="1180329" y="5099583"/>
              <a:ext cx="131532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oler Coverage and Execution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TextBox 22">
              <a:extLst>
                <a:ext uri="{FF2B5EF4-FFF2-40B4-BE49-F238E27FC236}">
                  <a16:creationId xmlns:a16="http://schemas.microsoft.com/office/drawing/2014/main" id="{1064367A-7925-471C-956A-D4BAD8BAA58F}"/>
                </a:ext>
              </a:extLst>
            </p:cNvPr>
            <p:cNvSpPr txBox="1"/>
            <p:nvPr/>
          </p:nvSpPr>
          <p:spPr>
            <a:xfrm>
              <a:off x="3815398" y="4244562"/>
              <a:ext cx="8832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S Experience</a:t>
              </a:r>
            </a:p>
          </p:txBody>
        </p:sp>
        <p:pic>
          <p:nvPicPr>
            <p:cNvPr id="40" name="Imagen 39"/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 r="16578"/>
            <a:stretch/>
          </p:blipFill>
          <p:spPr>
            <a:xfrm>
              <a:off x="2580448" y="3553076"/>
              <a:ext cx="983540" cy="983540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20000"/>
                </a:schemeClr>
              </a:outerShdw>
            </a:effectLst>
          </p:spPr>
        </p:pic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8185" y="2975079"/>
              <a:ext cx="1143037" cy="1233471"/>
            </a:xfrm>
            <a:prstGeom prst="rect">
              <a:avLst/>
            </a:prstGeom>
          </p:spPr>
        </p:pic>
        <p:pic>
          <p:nvPicPr>
            <p:cNvPr id="10" name="Imagen 9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834" t="27894" r="20116" b="13358"/>
            <a:stretch/>
          </p:blipFill>
          <p:spPr>
            <a:xfrm rot="5400000">
              <a:off x="1337295" y="3941876"/>
              <a:ext cx="1065274" cy="1065565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tx1">
                  <a:lumMod val="75000"/>
                  <a:lumOff val="25000"/>
                  <a:alpha val="20000"/>
                </a:scheme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423076465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co de bloque 8"/>
          <p:cNvSpPr/>
          <p:nvPr/>
        </p:nvSpPr>
        <p:spPr>
          <a:xfrm rot="16200000">
            <a:off x="6691564" y="427380"/>
            <a:ext cx="7234794" cy="6019056"/>
          </a:xfrm>
          <a:prstGeom prst="blockArc">
            <a:avLst>
              <a:gd name="adj1" fmla="val 10800000"/>
              <a:gd name="adj2" fmla="val 64786"/>
              <a:gd name="adj3" fmla="val 0"/>
            </a:avLst>
          </a:prstGeom>
          <a:noFill/>
          <a:ln w="508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6035346" y="2300574"/>
            <a:ext cx="2543335" cy="254333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6143342" y="3189939"/>
            <a:ext cx="2333439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ement</a:t>
            </a:r>
          </a:p>
        </p:txBody>
      </p:sp>
      <p:sp>
        <p:nvSpPr>
          <p:cNvPr id="30" name="Triángulo 29"/>
          <p:cNvSpPr/>
          <p:nvPr/>
        </p:nvSpPr>
        <p:spPr>
          <a:xfrm rot="3281921">
            <a:off x="8029664" y="516022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19164251">
            <a:off x="8029666" y="5898380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1044599" y="2822830"/>
            <a:ext cx="349286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inforce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bit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ough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y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ed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60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s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keholders</a:t>
            </a: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ángulo 46"/>
          <p:cNvSpPr/>
          <p:nvPr/>
        </p:nvSpPr>
        <p:spPr>
          <a:xfrm>
            <a:off x="4705715" y="2682555"/>
            <a:ext cx="83241" cy="1638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548830" flipH="1">
            <a:off x="6278453" y="1659988"/>
            <a:ext cx="868565" cy="90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26041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755217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ing all players through 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1230157" y="942365"/>
            <a:ext cx="62313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full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60°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turnable and affordability plan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90" y="426437"/>
            <a:ext cx="719328" cy="719328"/>
          </a:xfrm>
          <a:prstGeom prst="rect">
            <a:avLst/>
          </a:prstGeom>
        </p:spPr>
      </p:pic>
      <p:pic>
        <p:nvPicPr>
          <p:cNvPr id="7" name="Imagen 2" descr="unidades-01.png">
            <a:extLst>
              <a:ext uri="{FF2B5EF4-FFF2-40B4-BE49-F238E27FC236}">
                <a16:creationId xmlns:a16="http://schemas.microsoft.com/office/drawing/2014/main" id="{E07F2BB0-DED3-4058-AC05-619E08AE20A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773" t="16266" r="23060" b="13847"/>
          <a:stretch/>
        </p:blipFill>
        <p:spPr>
          <a:xfrm>
            <a:off x="3810821" y="2095634"/>
            <a:ext cx="3778513" cy="3767078"/>
          </a:xfrm>
          <a:prstGeom prst="rect">
            <a:avLst/>
          </a:prstGeom>
        </p:spPr>
      </p:pic>
      <p:grpSp>
        <p:nvGrpSpPr>
          <p:cNvPr id="10" name="Agrupar 9"/>
          <p:cNvGrpSpPr/>
          <p:nvPr/>
        </p:nvGrpSpPr>
        <p:grpSpPr>
          <a:xfrm>
            <a:off x="4536295" y="2815391"/>
            <a:ext cx="2327564" cy="2327564"/>
            <a:chOff x="4963807" y="2858080"/>
            <a:chExt cx="1351212" cy="1351213"/>
          </a:xfrm>
        </p:grpSpPr>
        <p:sp>
          <p:nvSpPr>
            <p:cNvPr id="11" name="Elipse 10"/>
            <p:cNvSpPr/>
            <p:nvPr/>
          </p:nvSpPr>
          <p:spPr>
            <a:xfrm>
              <a:off x="4963807" y="2858080"/>
              <a:ext cx="1351212" cy="1351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12700" dir="2700000" sx="105000" sy="105000" algn="tl" rotWithShape="0">
                <a:schemeClr val="tx1">
                  <a:lumMod val="75000"/>
                  <a:lumOff val="2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4242" y="3066054"/>
              <a:ext cx="868195" cy="934381"/>
            </a:xfrm>
            <a:prstGeom prst="rect">
              <a:avLst/>
            </a:prstGeom>
          </p:spPr>
        </p:pic>
      </p:grpSp>
      <p:sp>
        <p:nvSpPr>
          <p:cNvPr id="14" name="CuadroTexto 13"/>
          <p:cNvSpPr txBox="1"/>
          <p:nvPr/>
        </p:nvSpPr>
        <p:spPr>
          <a:xfrm>
            <a:off x="5423760" y="4145625"/>
            <a:ext cx="636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60º</a:t>
            </a:r>
          </a:p>
        </p:txBody>
      </p:sp>
      <p:sp>
        <p:nvSpPr>
          <p:cNvPr id="15" name="TextBox 39">
            <a:extLst>
              <a:ext uri="{FF2B5EF4-FFF2-40B4-BE49-F238E27FC236}">
                <a16:creationId xmlns:a16="http://schemas.microsoft.com/office/drawing/2014/main" id="{6E2FDD36-F945-4004-8889-E08702B7AFD3}"/>
              </a:ext>
            </a:extLst>
          </p:cNvPr>
          <p:cNvSpPr txBox="1"/>
          <p:nvPr/>
        </p:nvSpPr>
        <p:spPr>
          <a:xfrm rot="16200000">
            <a:off x="-856380" y="4978720"/>
            <a:ext cx="2316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Transactions</a:t>
            </a:r>
          </a:p>
        </p:txBody>
      </p:sp>
      <p:sp>
        <p:nvSpPr>
          <p:cNvPr id="16" name="TextBox 40">
            <a:extLst>
              <a:ext uri="{FF2B5EF4-FFF2-40B4-BE49-F238E27FC236}">
                <a16:creationId xmlns:a16="http://schemas.microsoft.com/office/drawing/2014/main" id="{F6E52A26-7427-4CA5-8A1A-D6DBC0EA4925}"/>
              </a:ext>
            </a:extLst>
          </p:cNvPr>
          <p:cNvSpPr txBox="1"/>
          <p:nvPr/>
        </p:nvSpPr>
        <p:spPr>
          <a:xfrm>
            <a:off x="10192973" y="6358046"/>
            <a:ext cx="16579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Profit</a:t>
            </a:r>
          </a:p>
        </p:txBody>
      </p:sp>
      <p:cxnSp>
        <p:nvCxnSpPr>
          <p:cNvPr id="17" name="Conector recto de flecha 16"/>
          <p:cNvCxnSpPr/>
          <p:nvPr/>
        </p:nvCxnSpPr>
        <p:spPr>
          <a:xfrm flipV="1">
            <a:off x="64799" y="3511296"/>
            <a:ext cx="0" cy="3237052"/>
          </a:xfrm>
          <a:prstGeom prst="straightConnector1">
            <a:avLst/>
          </a:prstGeom>
          <a:ln w="5080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de flecha 17"/>
          <p:cNvCxnSpPr/>
          <p:nvPr/>
        </p:nvCxnSpPr>
        <p:spPr>
          <a:xfrm>
            <a:off x="64799" y="6748348"/>
            <a:ext cx="11938015" cy="0"/>
          </a:xfrm>
          <a:prstGeom prst="straightConnector1">
            <a:avLst/>
          </a:prstGeom>
          <a:ln w="5080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Agrupar 24"/>
          <p:cNvGrpSpPr/>
          <p:nvPr/>
        </p:nvGrpSpPr>
        <p:grpSpPr>
          <a:xfrm>
            <a:off x="1486576" y="3635969"/>
            <a:ext cx="2182686" cy="1553482"/>
            <a:chOff x="1812395" y="3635969"/>
            <a:chExt cx="2182686" cy="1553482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C9AB8482-8C84-4FB9-A5CF-EF9C394855BB}"/>
                </a:ext>
              </a:extLst>
            </p:cNvPr>
            <p:cNvSpPr/>
            <p:nvPr/>
          </p:nvSpPr>
          <p:spPr>
            <a:xfrm>
              <a:off x="1952423" y="4019900"/>
              <a:ext cx="204265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roducing a 4-tier plan: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tailer Incentiv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Loyalty program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isibility Drive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aining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CuadroTexto 22"/>
            <p:cNvSpPr txBox="1"/>
            <p:nvPr/>
          </p:nvSpPr>
          <p:spPr>
            <a:xfrm>
              <a:off x="1952422" y="3635969"/>
              <a:ext cx="101521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Calibri" panose="020F0502020204030204"/>
                  <a:ea typeface="ヒラギノ角ゴ ProN W3" charset="0"/>
                  <a:cs typeface="ヒラギノ角ゴ ProN W3" charset="0"/>
                  <a:sym typeface="Gill Sans" charset="0"/>
                </a:rPr>
                <a:t>Retailer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1812395" y="3683693"/>
              <a:ext cx="63690" cy="14674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6" name="Agrupar 25"/>
          <p:cNvGrpSpPr/>
          <p:nvPr/>
        </p:nvGrpSpPr>
        <p:grpSpPr>
          <a:xfrm>
            <a:off x="7848767" y="4330291"/>
            <a:ext cx="3201650" cy="1788077"/>
            <a:chOff x="1812395" y="3635969"/>
            <a:chExt cx="3201650" cy="1788077"/>
          </a:xfrm>
        </p:grpSpPr>
        <p:sp>
          <p:nvSpPr>
            <p:cNvPr id="27" name="Rectangle 3">
              <a:extLst>
                <a:ext uri="{FF2B5EF4-FFF2-40B4-BE49-F238E27FC236}">
                  <a16:creationId xmlns:a16="http://schemas.microsoft.com/office/drawing/2014/main" id="{C9AB8482-8C84-4FB9-A5CF-EF9C394855BB}"/>
                </a:ext>
              </a:extLst>
            </p:cNvPr>
            <p:cNvSpPr/>
            <p:nvPr/>
          </p:nvSpPr>
          <p:spPr>
            <a:xfrm>
              <a:off x="1952423" y="4019900"/>
              <a:ext cx="3061622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Motivating Sales &amp; Distribution Team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ales force incentiv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tribution award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ain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ol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ade MKT</a:t>
              </a:r>
            </a:p>
          </p:txBody>
        </p:sp>
        <p:sp>
          <p:nvSpPr>
            <p:cNvPr id="28" name="CuadroTexto 27"/>
            <p:cNvSpPr txBox="1"/>
            <p:nvPr/>
          </p:nvSpPr>
          <p:spPr>
            <a:xfrm>
              <a:off x="1952422" y="3635969"/>
              <a:ext cx="210128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Calibri" panose="020F0502020204030204"/>
                  <a:ea typeface="ヒラギノ角ゴ ProN W3" charset="0"/>
                  <a:cs typeface="ヒラギノ角ゴ ProN W3" charset="0"/>
                  <a:sym typeface="Gill Sans" charset="0"/>
                </a:rPr>
                <a:t>System Engagement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9" name="Rectángulo 28"/>
            <p:cNvSpPr/>
            <p:nvPr/>
          </p:nvSpPr>
          <p:spPr>
            <a:xfrm>
              <a:off x="1812395" y="3648488"/>
              <a:ext cx="63690" cy="17755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8077580" y="1681989"/>
            <a:ext cx="2377378" cy="1553482"/>
            <a:chOff x="1812395" y="3635969"/>
            <a:chExt cx="2377378" cy="1553482"/>
          </a:xfrm>
        </p:grpSpPr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C9AB8482-8C84-4FB9-A5CF-EF9C394855BB}"/>
                </a:ext>
              </a:extLst>
            </p:cNvPr>
            <p:cNvSpPr/>
            <p:nvPr/>
          </p:nvSpPr>
          <p:spPr>
            <a:xfrm>
              <a:off x="1952423" y="4019900"/>
              <a:ext cx="2237350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utstanding Communication and Promotional Platform for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T </a:t>
              </a:r>
              <a:r>
                <a:rPr kumimoji="0" lang="en-U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icOS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t PO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82101"/>
                </a:buClr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CuadroTexto 31"/>
            <p:cNvSpPr txBox="1"/>
            <p:nvPr/>
          </p:nvSpPr>
          <p:spPr>
            <a:xfrm>
              <a:off x="1952422" y="3635969"/>
              <a:ext cx="107317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ヒラギノ角ゴ ProN W3" charset="0"/>
                  <a:cs typeface="ヒラギノ角ゴ ProN W3" charset="0"/>
                  <a:sym typeface="Gill Sans" charset="0"/>
                </a:rPr>
                <a:t>Shopper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33" name="Rectángulo 32"/>
            <p:cNvSpPr/>
            <p:nvPr/>
          </p:nvSpPr>
          <p:spPr>
            <a:xfrm>
              <a:off x="1812395" y="3658953"/>
              <a:ext cx="63690" cy="1334004"/>
            </a:xfrm>
            <a:prstGeom prst="rect">
              <a:avLst/>
            </a:prstGeom>
            <a:solidFill>
              <a:srgbClr val="E82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6079438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657B887-B727-4443-B7BD-E49A205328ED}"/>
              </a:ext>
            </a:extLst>
          </p:cNvPr>
          <p:cNvSpPr/>
          <p:nvPr/>
        </p:nvSpPr>
        <p:spPr>
          <a:xfrm>
            <a:off x="0" y="0"/>
            <a:ext cx="12202510" cy="6885734"/>
          </a:xfrm>
          <a:prstGeom prst="rect">
            <a:avLst/>
          </a:prstGeom>
          <a:solidFill>
            <a:srgbClr val="EE33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5A30B7-9449-1D4B-B077-2D7AE7A0F00E}"/>
              </a:ext>
            </a:extLst>
          </p:cNvPr>
          <p:cNvSpPr txBox="1"/>
          <p:nvPr/>
        </p:nvSpPr>
        <p:spPr>
          <a:xfrm>
            <a:off x="3996946" y="3075057"/>
            <a:ext cx="41981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spc="300" dirty="0">
                <a:solidFill>
                  <a:schemeClr val="bg1"/>
                </a:solidFill>
                <a:latin typeface="Gotham" panose="02000504050000020004" pitchFamily="2" charset="0"/>
              </a:rPr>
              <a:t>THANK YOU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918F26-4636-BD4B-9410-91DB182C13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7690" y="4086735"/>
            <a:ext cx="1896619" cy="595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73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oca-Cola glass bottles go beyond recycling – Daily Tribune">
            <a:extLst>
              <a:ext uri="{FF2B5EF4-FFF2-40B4-BE49-F238E27FC236}">
                <a16:creationId xmlns:a16="http://schemas.microsoft.com/office/drawing/2014/main" id="{496377F4-A3BF-4759-9A73-B3D85D998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57200"/>
            <a:ext cx="12192000" cy="731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23A117E-1C45-4B22-9465-8A6E934D3206}"/>
              </a:ext>
            </a:extLst>
          </p:cNvPr>
          <p:cNvSpPr/>
          <p:nvPr/>
        </p:nvSpPr>
        <p:spPr>
          <a:xfrm>
            <a:off x="0" y="-457200"/>
            <a:ext cx="12192000" cy="73152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33EC7-FBDE-4D71-884A-FF622C005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business impera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16397-6374-48DF-A43B-6938E48181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800" dirty="0"/>
              <a:t>The </a:t>
            </a:r>
            <a:r>
              <a:rPr lang="en-US" sz="2800" dirty="0" err="1"/>
              <a:t>returnables</a:t>
            </a:r>
            <a:r>
              <a:rPr lang="en-US" sz="2800" dirty="0"/>
              <a:t> platform is a key enabler for accelerated incidence and share </a:t>
            </a:r>
            <a:r>
              <a:rPr lang="en-US" sz="2800" dirty="0">
                <a:highlight>
                  <a:srgbClr val="FF0000"/>
                </a:highlight>
              </a:rPr>
              <a:t>growth</a:t>
            </a:r>
            <a:r>
              <a:rPr lang="en-US" sz="2800" dirty="0"/>
              <a:t> while delivering our zero-waste goals.</a:t>
            </a:r>
          </a:p>
        </p:txBody>
      </p:sp>
    </p:spTree>
    <p:extLst>
      <p:ext uri="{BB962C8B-B14F-4D97-AF65-F5344CB8AC3E}">
        <p14:creationId xmlns:p14="http://schemas.microsoft.com/office/powerpoint/2010/main" val="21835618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Box 60">
            <a:extLst>
              <a:ext uri="{FF2B5EF4-FFF2-40B4-BE49-F238E27FC236}">
                <a16:creationId xmlns:a16="http://schemas.microsoft.com/office/drawing/2014/main" id="{6B5B386D-1C45-4B79-B7A4-AC4981CBED65}"/>
              </a:ext>
            </a:extLst>
          </p:cNvPr>
          <p:cNvSpPr txBox="1"/>
          <p:nvPr/>
        </p:nvSpPr>
        <p:spPr>
          <a:xfrm>
            <a:off x="113408" y="216180"/>
            <a:ext cx="112746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kern="0">
                <a:solidFill>
                  <a:srgbClr val="E82101"/>
                </a:solidFill>
                <a:latin typeface="Calibri" panose="020F0502020204030204"/>
                <a:cs typeface="Arial" pitchFamily="34" charset="0"/>
              </a:defRPr>
            </a:lvl1pPr>
          </a:lstStyle>
          <a:p>
            <a:r>
              <a:rPr lang="en-US" sz="4000" dirty="0" err="1"/>
              <a:t>Returnables</a:t>
            </a:r>
            <a:r>
              <a:rPr lang="en-US" sz="4000" dirty="0"/>
              <a:t> play a strategic Role in our Business</a:t>
            </a:r>
          </a:p>
        </p:txBody>
      </p:sp>
      <p:sp>
        <p:nvSpPr>
          <p:cNvPr id="4" name="Rectángulo redondeado 7">
            <a:extLst>
              <a:ext uri="{FF2B5EF4-FFF2-40B4-BE49-F238E27FC236}">
                <a16:creationId xmlns:a16="http://schemas.microsoft.com/office/drawing/2014/main" id="{6549A35C-F7CF-46FB-B1FC-791F5BBA9662}"/>
              </a:ext>
            </a:extLst>
          </p:cNvPr>
          <p:cNvSpPr/>
          <p:nvPr/>
        </p:nvSpPr>
        <p:spPr>
          <a:xfrm>
            <a:off x="456437" y="1333141"/>
            <a:ext cx="11274640" cy="4734155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CuadroTexto 13">
            <a:extLst>
              <a:ext uri="{FF2B5EF4-FFF2-40B4-BE49-F238E27FC236}">
                <a16:creationId xmlns:a16="http://schemas.microsoft.com/office/drawing/2014/main" id="{E784F2CB-5DC9-4A9B-8C5E-7045241E87AE}"/>
              </a:ext>
            </a:extLst>
          </p:cNvPr>
          <p:cNvSpPr txBox="1"/>
          <p:nvPr/>
        </p:nvSpPr>
        <p:spPr>
          <a:xfrm>
            <a:off x="1031482" y="1680279"/>
            <a:ext cx="10124550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ETITIVE ADVANTAG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tect our Base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lang="en-US" sz="16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UMER PERCEP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ordable and Competitive Price Point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vers Habit and improves Frequency of Consumption</a:t>
            </a:r>
            <a:endParaRPr lang="en-US" sz="16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K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mer loyalty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packages serve as a constant purchase reminder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E8210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EXPANSION</a:t>
            </a:r>
            <a:endParaRPr lang="en-US" sz="16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periods of crisis,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urnables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ere more consistent as consumers are more loyal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OBPPC Strategy Differentiating Packages – One Way</a:t>
            </a:r>
          </a:p>
          <a:p>
            <a:pPr>
              <a:defRPr/>
            </a:pP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urnables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e key to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oyalty, not only bringing additional margin, but 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as an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mportant tool to increase frequency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ILIT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utilize – World Without Wast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402628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ángulo redondeado 27">
            <a:extLst>
              <a:ext uri="{FF2B5EF4-FFF2-40B4-BE49-F238E27FC236}">
                <a16:creationId xmlns:a16="http://schemas.microsoft.com/office/drawing/2014/main" id="{BDD4E79B-FB80-4C41-8A9F-DBB63BB2B34A}"/>
              </a:ext>
            </a:extLst>
          </p:cNvPr>
          <p:cNvSpPr/>
          <p:nvPr/>
        </p:nvSpPr>
        <p:spPr>
          <a:xfrm>
            <a:off x="1294956" y="1527127"/>
            <a:ext cx="7677227" cy="4498134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98461" y="229452"/>
            <a:ext cx="107659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kern="0">
                <a:solidFill>
                  <a:srgbClr val="E82101"/>
                </a:solidFill>
                <a:latin typeface="Calibri" panose="020F0502020204030204"/>
                <a:cs typeface="Arial" pitchFamily="34" charset="0"/>
              </a:defRPr>
            </a:lvl1pPr>
          </a:lstStyle>
          <a:p>
            <a:pPr algn="l"/>
            <a:r>
              <a:rPr lang="en-US" dirty="0" err="1"/>
              <a:t>Returnables</a:t>
            </a:r>
            <a:r>
              <a:rPr lang="en-US" dirty="0"/>
              <a:t> have been one of the main growth drivers of the system, supporting KO to overcome recent crisis</a:t>
            </a:r>
          </a:p>
        </p:txBody>
      </p:sp>
      <p:pic>
        <p:nvPicPr>
          <p:cNvPr id="61" name="Imagen 6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96" y="3268668"/>
            <a:ext cx="1091124" cy="1149987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9242429" y="3809509"/>
            <a:ext cx="5294497" cy="204595"/>
          </a:xfrm>
          <a:prstGeom prst="rect">
            <a:avLst/>
          </a:prstGeom>
        </p:spPr>
      </p:pic>
      <p:sp>
        <p:nvSpPr>
          <p:cNvPr id="32" name="Isosceles Triangle 1">
            <a:extLst>
              <a:ext uri="{FF2B5EF4-FFF2-40B4-BE49-F238E27FC236}">
                <a16:creationId xmlns:a16="http://schemas.microsoft.com/office/drawing/2014/main" id="{D9C7405E-5DB4-4DE9-9123-AB8A17250C36}"/>
              </a:ext>
            </a:extLst>
          </p:cNvPr>
          <p:cNvSpPr/>
          <p:nvPr/>
        </p:nvSpPr>
        <p:spPr>
          <a:xfrm rot="10800000">
            <a:off x="10285115" y="2430277"/>
            <a:ext cx="579260" cy="118028"/>
          </a:xfrm>
          <a:prstGeom prst="triangle">
            <a:avLst/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ounded Rectangle 60">
            <a:extLst>
              <a:ext uri="{FF2B5EF4-FFF2-40B4-BE49-F238E27FC236}">
                <a16:creationId xmlns:a16="http://schemas.microsoft.com/office/drawing/2014/main" id="{8B80E92B-C181-40D2-93BE-DAEBF4340324}"/>
              </a:ext>
            </a:extLst>
          </p:cNvPr>
          <p:cNvSpPr/>
          <p:nvPr/>
        </p:nvSpPr>
        <p:spPr>
          <a:xfrm>
            <a:off x="9699962" y="2658221"/>
            <a:ext cx="1749567" cy="529405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>
            <a:outerShdw blurRad="127000" dist="38100" dir="2700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txBody>
          <a:bodyPr rtlCol="0" anchor="ctr"/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2020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41" name="Rounded Rectangle 60">
            <a:extLst>
              <a:ext uri="{FF2B5EF4-FFF2-40B4-BE49-F238E27FC236}">
                <a16:creationId xmlns:a16="http://schemas.microsoft.com/office/drawing/2014/main" id="{8B80E92B-C181-40D2-93BE-DAEBF4340324}"/>
              </a:ext>
            </a:extLst>
          </p:cNvPr>
          <p:cNvSpPr/>
          <p:nvPr/>
        </p:nvSpPr>
        <p:spPr>
          <a:xfrm>
            <a:off x="9699962" y="3398885"/>
            <a:ext cx="1749567" cy="529405"/>
          </a:xfrm>
          <a:prstGeom prst="roundRect">
            <a:avLst/>
          </a:prstGeom>
          <a:noFill/>
          <a:ln w="254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%</a:t>
            </a:r>
          </a:p>
        </p:txBody>
      </p:sp>
      <p:sp>
        <p:nvSpPr>
          <p:cNvPr id="48" name="CuadroTexto 47"/>
          <p:cNvSpPr txBox="1"/>
          <p:nvPr/>
        </p:nvSpPr>
        <p:spPr>
          <a:xfrm>
            <a:off x="9641804" y="1527127"/>
            <a:ext cx="1840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rgbClr val="E82101"/>
                </a:solidFill>
                <a:latin typeface="Calibri" panose="020F0502020204030204"/>
                <a:cs typeface="Arial" pitchFamily="34" charset="0"/>
              </a:rPr>
              <a:t>Continuing to grow in Crisis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69" name="Imagen 6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54407" y="3809509"/>
            <a:ext cx="5294497" cy="204595"/>
          </a:xfrm>
          <a:prstGeom prst="rect">
            <a:avLst/>
          </a:prstGeom>
        </p:spPr>
      </p:pic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2EE4F77E-0C1E-4F47-A1FD-35AE36771134}"/>
              </a:ext>
            </a:extLst>
          </p:cNvPr>
          <p:cNvCxnSpPr>
            <a:cxnSpLocks/>
          </p:cNvCxnSpPr>
          <p:nvPr/>
        </p:nvCxnSpPr>
        <p:spPr>
          <a:xfrm flipV="1">
            <a:off x="2011680" y="2221632"/>
            <a:ext cx="6164673" cy="170665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60">
            <a:extLst>
              <a:ext uri="{FF2B5EF4-FFF2-40B4-BE49-F238E27FC236}">
                <a16:creationId xmlns:a16="http://schemas.microsoft.com/office/drawing/2014/main" id="{15C6537D-A969-4778-AB30-1B4DB73C19F7}"/>
              </a:ext>
            </a:extLst>
          </p:cNvPr>
          <p:cNvSpPr/>
          <p:nvPr/>
        </p:nvSpPr>
        <p:spPr>
          <a:xfrm>
            <a:off x="9699962" y="4477496"/>
            <a:ext cx="1749567" cy="529405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>
            <a:outerShdw blurRad="127000" dist="38100" dir="2700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txBody>
          <a:bodyPr rtlCol="0" anchor="ctr"/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2021 YTD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0" name="Rounded Rectangle 60">
            <a:extLst>
              <a:ext uri="{FF2B5EF4-FFF2-40B4-BE49-F238E27FC236}">
                <a16:creationId xmlns:a16="http://schemas.microsoft.com/office/drawing/2014/main" id="{86D38621-C01D-41AD-AAD3-208DEB8CE5B8}"/>
              </a:ext>
            </a:extLst>
          </p:cNvPr>
          <p:cNvSpPr/>
          <p:nvPr/>
        </p:nvSpPr>
        <p:spPr>
          <a:xfrm>
            <a:off x="9699962" y="5218160"/>
            <a:ext cx="1749567" cy="529405"/>
          </a:xfrm>
          <a:prstGeom prst="roundRect">
            <a:avLst/>
          </a:prstGeom>
          <a:noFill/>
          <a:ln w="254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%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6490B6D-F660-49B4-8DB7-D2327B805A31}"/>
              </a:ext>
            </a:extLst>
          </p:cNvPr>
          <p:cNvSpPr txBox="1"/>
          <p:nvPr/>
        </p:nvSpPr>
        <p:spPr>
          <a:xfrm>
            <a:off x="2493170" y="1682715"/>
            <a:ext cx="48641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CCC-UnityText" panose="020B0505030303020204" pitchFamily="34" charset="0"/>
              </a:rPr>
              <a:t>Returnable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CCC-UnityText" panose="020B0505030303020204" pitchFamily="34" charset="0"/>
              </a:rPr>
              <a:t> M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CCC-UnityText" panose="020B0505030303020204" pitchFamily="34" charset="0"/>
              </a:rPr>
              <a:t>Latam Volume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842222B2-A3EC-41D0-B3C1-CE853C0079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6679013"/>
              </p:ext>
            </p:extLst>
          </p:nvPr>
        </p:nvGraphicFramePr>
        <p:xfrm>
          <a:off x="1354645" y="2603823"/>
          <a:ext cx="7273761" cy="2976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981A0E70-BBCC-4B91-93FF-B563D25B7E34}"/>
              </a:ext>
            </a:extLst>
          </p:cNvPr>
          <p:cNvSpPr txBox="1"/>
          <p:nvPr/>
        </p:nvSpPr>
        <p:spPr>
          <a:xfrm rot="20710561">
            <a:off x="4482987" y="2685827"/>
            <a:ext cx="13011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prstClr val="black"/>
                </a:solidFill>
                <a:latin typeface="TCCC-UnityText" panose="020B0505030303020204" pitchFamily="34" charset="0"/>
              </a:rPr>
              <a:t>1.44 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CCC-UnityText" panose="020B0505030303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CCC-UnityText" panose="020B0505030303020204" pitchFamily="34" charset="0"/>
                <a:ea typeface="+mn-ea"/>
                <a:cs typeface="+mn-cs"/>
              </a:rPr>
              <a:t>CAGR 3.7%</a:t>
            </a:r>
          </a:p>
        </p:txBody>
      </p:sp>
    </p:spTree>
    <p:extLst>
      <p:ext uri="{BB962C8B-B14F-4D97-AF65-F5344CB8AC3E}">
        <p14:creationId xmlns:p14="http://schemas.microsoft.com/office/powerpoint/2010/main" val="297045184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987" y="297477"/>
            <a:ext cx="2792241" cy="9127998"/>
          </a:xfrm>
          <a:prstGeom prst="rect">
            <a:avLst/>
          </a:prstGeom>
        </p:spPr>
      </p:pic>
      <p:grpSp>
        <p:nvGrpSpPr>
          <p:cNvPr id="23" name="Agrupar 22"/>
          <p:cNvGrpSpPr/>
          <p:nvPr/>
        </p:nvGrpSpPr>
        <p:grpSpPr>
          <a:xfrm>
            <a:off x="1120231" y="3547507"/>
            <a:ext cx="2168826" cy="2168820"/>
            <a:chOff x="6552153" y="1435360"/>
            <a:chExt cx="693385" cy="693386"/>
          </a:xfrm>
        </p:grpSpPr>
        <p:sp>
          <p:nvSpPr>
            <p:cNvPr id="31" name="Elipse 30"/>
            <p:cNvSpPr/>
            <p:nvPr/>
          </p:nvSpPr>
          <p:spPr>
            <a:xfrm>
              <a:off x="6552153" y="1435360"/>
              <a:ext cx="693385" cy="6933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2" name="Imagen 3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85796" y="1542081"/>
              <a:ext cx="445521" cy="479485"/>
            </a:xfrm>
            <a:prstGeom prst="rect">
              <a:avLst/>
            </a:prstGeom>
          </p:spPr>
        </p:pic>
      </p:grpSp>
      <p:sp>
        <p:nvSpPr>
          <p:cNvPr id="26" name="Elipse 25"/>
          <p:cNvSpPr>
            <a:spLocks noChangeAspect="1"/>
          </p:cNvSpPr>
          <p:nvPr/>
        </p:nvSpPr>
        <p:spPr>
          <a:xfrm>
            <a:off x="1167366" y="3405681"/>
            <a:ext cx="302505" cy="30250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>
            <a:spLocks noChangeAspect="1"/>
          </p:cNvSpPr>
          <p:nvPr/>
        </p:nvSpPr>
        <p:spPr>
          <a:xfrm>
            <a:off x="976898" y="3843389"/>
            <a:ext cx="206615" cy="2066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Elipse 27"/>
          <p:cNvSpPr>
            <a:spLocks noChangeAspect="1"/>
          </p:cNvSpPr>
          <p:nvPr/>
        </p:nvSpPr>
        <p:spPr>
          <a:xfrm>
            <a:off x="2843503" y="5591590"/>
            <a:ext cx="250004" cy="250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Elipse 28"/>
          <p:cNvSpPr>
            <a:spLocks noChangeAspect="1"/>
          </p:cNvSpPr>
          <p:nvPr/>
        </p:nvSpPr>
        <p:spPr>
          <a:xfrm>
            <a:off x="2531274" y="5832996"/>
            <a:ext cx="128291" cy="1282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Elipse 29"/>
          <p:cNvSpPr>
            <a:spLocks noChangeAspect="1"/>
          </p:cNvSpPr>
          <p:nvPr/>
        </p:nvSpPr>
        <p:spPr>
          <a:xfrm>
            <a:off x="3278733" y="5297481"/>
            <a:ext cx="128291" cy="1282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3873525" y="1500822"/>
            <a:ext cx="741072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dirty="0">
                <a:solidFill>
                  <a:prstClr val="white"/>
                </a:solidFill>
                <a:latin typeface="Calibri" panose="020F0502020204030204"/>
              </a:rPr>
              <a:t>Ye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hould be a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Business Growth Pillar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our System</a:t>
            </a:r>
            <a:r>
              <a:rPr kumimoji="0" lang="is-I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1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4000" b="1" i="1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so, </a:t>
            </a:r>
            <a:r>
              <a:rPr kumimoji="0" lang="en-US" sz="4000" b="1" i="1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should we do about it?</a:t>
            </a:r>
          </a:p>
        </p:txBody>
      </p:sp>
      <p:sp>
        <p:nvSpPr>
          <p:cNvPr id="34" name="Elipse 33"/>
          <p:cNvSpPr>
            <a:spLocks noChangeAspect="1"/>
          </p:cNvSpPr>
          <p:nvPr/>
        </p:nvSpPr>
        <p:spPr>
          <a:xfrm>
            <a:off x="1671816" y="3370027"/>
            <a:ext cx="128291" cy="1282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Conector recto de flecha 8"/>
          <p:cNvCxnSpPr>
            <a:stCxn id="31" idx="6"/>
          </p:cNvCxnSpPr>
          <p:nvPr/>
        </p:nvCxnSpPr>
        <p:spPr>
          <a:xfrm flipV="1">
            <a:off x="3289057" y="4631199"/>
            <a:ext cx="7928840" cy="718"/>
          </a:xfrm>
          <a:prstGeom prst="straightConnector1">
            <a:avLst/>
          </a:prstGeom>
          <a:ln w="2540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31155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00" y="405873"/>
            <a:ext cx="778603" cy="540442"/>
          </a:xfrm>
          <a:prstGeom prst="rect">
            <a:avLst/>
          </a:prstGeom>
        </p:spPr>
      </p:pic>
      <p:sp>
        <p:nvSpPr>
          <p:cNvPr id="3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101908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should focus on our consumer Drivers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230157" y="942365"/>
            <a:ext cx="6433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turn them into our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1" u="none" strike="noStrike" kern="1200" cap="none" spc="0" normalizeH="0" baseline="0" noProof="0" dirty="0" err="1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ility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dge</a:t>
            </a:r>
          </a:p>
        </p:txBody>
      </p:sp>
      <p:pic>
        <p:nvPicPr>
          <p:cNvPr id="5" name="Picture 87">
            <a:extLst>
              <a:ext uri="{FF2B5EF4-FFF2-40B4-BE49-F238E27FC236}">
                <a16:creationId xmlns:a16="http://schemas.microsoft.com/office/drawing/2014/main" id="{555228BF-4256-431F-BB8A-6BB876A3ECE6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l="20027" t="7326" r="20422" b="2566"/>
          <a:stretch/>
        </p:blipFill>
        <p:spPr>
          <a:xfrm>
            <a:off x="7252162" y="2287418"/>
            <a:ext cx="2704624" cy="2704624"/>
          </a:xfrm>
          <a:prstGeom prst="ellipse">
            <a:avLst/>
          </a:prstGeom>
          <a:ln w="63500">
            <a:solidFill>
              <a:schemeClr val="bg1"/>
            </a:solidFill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</p:pic>
      <p:sp>
        <p:nvSpPr>
          <p:cNvPr id="10" name="TextBox 42">
            <a:extLst>
              <a:ext uri="{FF2B5EF4-FFF2-40B4-BE49-F238E27FC236}">
                <a16:creationId xmlns:a16="http://schemas.microsoft.com/office/drawing/2014/main" id="{2903B980-1A4C-4FED-B882-73B2AB8C11DA}"/>
              </a:ext>
            </a:extLst>
          </p:cNvPr>
          <p:cNvSpPr txBox="1"/>
          <p:nvPr/>
        </p:nvSpPr>
        <p:spPr>
          <a:xfrm>
            <a:off x="9631801" y="2160341"/>
            <a:ext cx="13281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ed by the brands´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quit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6139924" y="5921659"/>
            <a:ext cx="50975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but about the whol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e proposition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wered by the Brand’s attributes and Equity, which makes i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ealing and relevan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consumers.</a:t>
            </a:r>
            <a:endParaRPr kumimoji="0" lang="es-A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Conector recto 17"/>
          <p:cNvCxnSpPr/>
          <p:nvPr/>
        </p:nvCxnSpPr>
        <p:spPr>
          <a:xfrm>
            <a:off x="5957726" y="5890935"/>
            <a:ext cx="0" cy="892444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uadroTexto 18"/>
          <p:cNvSpPr txBox="1"/>
          <p:nvPr/>
        </p:nvSpPr>
        <p:spPr>
          <a:xfrm>
            <a:off x="2968627" y="5983214"/>
            <a:ext cx="27667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dg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not only about the bottle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10981763" y="2189138"/>
            <a:ext cx="69515" cy="904290"/>
          </a:xfrm>
          <a:prstGeom prst="rect">
            <a:avLst/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3" name="Agrupar 32"/>
          <p:cNvGrpSpPr/>
          <p:nvPr/>
        </p:nvGrpSpPr>
        <p:grpSpPr>
          <a:xfrm>
            <a:off x="1465968" y="1912564"/>
            <a:ext cx="4798129" cy="3583831"/>
            <a:chOff x="1226061" y="1733372"/>
            <a:chExt cx="5277942" cy="3942214"/>
          </a:xfrm>
        </p:grpSpPr>
        <p:sp>
          <p:nvSpPr>
            <p:cNvPr id="32" name="Rectángulo redondeado 31"/>
            <p:cNvSpPr/>
            <p:nvPr/>
          </p:nvSpPr>
          <p:spPr>
            <a:xfrm>
              <a:off x="1226061" y="1733372"/>
              <a:ext cx="5277942" cy="394221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2000" sy="102000" algn="tl" rotWithShape="0">
                <a:schemeClr val="tx1">
                  <a:lumMod val="75000"/>
                  <a:lumOff val="2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39">
              <a:extLst>
                <a:ext uri="{FF2B5EF4-FFF2-40B4-BE49-F238E27FC236}">
                  <a16:creationId xmlns:a16="http://schemas.microsoft.com/office/drawing/2014/main" id="{6E2FDD36-F945-4004-8889-E08702B7AFD3}"/>
                </a:ext>
              </a:extLst>
            </p:cNvPr>
            <p:cNvSpPr txBox="1"/>
            <p:nvPr/>
          </p:nvSpPr>
          <p:spPr>
            <a:xfrm rot="16200000">
              <a:off x="873514" y="3461408"/>
              <a:ext cx="1794682" cy="406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vance</a:t>
              </a:r>
            </a:p>
          </p:txBody>
        </p:sp>
        <p:sp>
          <p:nvSpPr>
            <p:cNvPr id="8" name="TextBox 40">
              <a:extLst>
                <a:ext uri="{FF2B5EF4-FFF2-40B4-BE49-F238E27FC236}">
                  <a16:creationId xmlns:a16="http://schemas.microsoft.com/office/drawing/2014/main" id="{F6E52A26-7427-4CA5-8A1A-D6DBC0EA4925}"/>
                </a:ext>
              </a:extLst>
            </p:cNvPr>
            <p:cNvSpPr txBox="1"/>
            <p:nvPr/>
          </p:nvSpPr>
          <p:spPr>
            <a:xfrm>
              <a:off x="2902426" y="5120798"/>
              <a:ext cx="2206683" cy="406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niqueness</a:t>
              </a:r>
            </a:p>
          </p:txBody>
        </p:sp>
        <p:sp>
          <p:nvSpPr>
            <p:cNvPr id="9" name="Rectangle 41">
              <a:extLst>
                <a:ext uri="{FF2B5EF4-FFF2-40B4-BE49-F238E27FC236}">
                  <a16:creationId xmlns:a16="http://schemas.microsoft.com/office/drawing/2014/main" id="{002BBC94-FF70-42D5-8960-A41686FC37E0}"/>
                </a:ext>
              </a:extLst>
            </p:cNvPr>
            <p:cNvSpPr/>
            <p:nvPr/>
          </p:nvSpPr>
          <p:spPr>
            <a:xfrm>
              <a:off x="2457387" y="2973252"/>
              <a:ext cx="3457123" cy="166646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ffordability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mart shopper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st consumption experience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tter for the environment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Iconic” experience</a:t>
              </a:r>
            </a:p>
          </p:txBody>
        </p:sp>
        <p:sp>
          <p:nvSpPr>
            <p:cNvPr id="13" name="TextBox 88">
              <a:extLst>
                <a:ext uri="{FF2B5EF4-FFF2-40B4-BE49-F238E27FC236}">
                  <a16:creationId xmlns:a16="http://schemas.microsoft.com/office/drawing/2014/main" id="{5CA62F74-96E1-4EB6-8DEA-569A81ED3155}"/>
                </a:ext>
              </a:extLst>
            </p:cNvPr>
            <p:cNvSpPr txBox="1"/>
            <p:nvPr/>
          </p:nvSpPr>
          <p:spPr>
            <a:xfrm>
              <a:off x="2387891" y="2235845"/>
              <a:ext cx="338957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turnables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’ EDGE</a:t>
              </a:r>
            </a:p>
          </p:txBody>
        </p:sp>
        <p:cxnSp>
          <p:nvCxnSpPr>
            <p:cNvPr id="21" name="Conector recto de flecha 20"/>
            <p:cNvCxnSpPr/>
            <p:nvPr/>
          </p:nvCxnSpPr>
          <p:spPr>
            <a:xfrm flipV="1">
              <a:off x="2116625" y="2326695"/>
              <a:ext cx="0" cy="2649764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cto de flecha 22"/>
            <p:cNvCxnSpPr/>
            <p:nvPr/>
          </p:nvCxnSpPr>
          <p:spPr>
            <a:xfrm>
              <a:off x="2116625" y="4976459"/>
              <a:ext cx="3797884" cy="0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Imagen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5150" y="2043953"/>
              <a:ext cx="353487" cy="369129"/>
            </a:xfrm>
            <a:prstGeom prst="rect">
              <a:avLst/>
            </a:prstGeom>
          </p:spPr>
        </p:pic>
      </p:grpSp>
      <p:cxnSp>
        <p:nvCxnSpPr>
          <p:cNvPr id="22" name="Conector recto 21"/>
          <p:cNvCxnSpPr/>
          <p:nvPr/>
        </p:nvCxnSpPr>
        <p:spPr>
          <a:xfrm>
            <a:off x="2831349" y="5890935"/>
            <a:ext cx="0" cy="892444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" descr="Image result for remember image">
            <a:extLst>
              <a:ext uri="{FF2B5EF4-FFF2-40B4-BE49-F238E27FC236}">
                <a16:creationId xmlns:a16="http://schemas.microsoft.com/office/drawing/2014/main" id="{14CBAE57-DC3D-4B48-B928-E4ED8D9F72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647" b="91239" l="15417" r="76250">
                        <a14:foregroundMark x1="27292" y1="8761" x2="33750" y2="8761"/>
                        <a14:foregroundMark x1="76250" y1="21752" x2="74792" y2="37160"/>
                        <a14:foregroundMark x1="67292" y1="89728" x2="63333" y2="89124"/>
                        <a14:foregroundMark x1="17917" y1="76435" x2="20208" y2="65257"/>
                        <a14:foregroundMark x1="20208" y1="65257" x2="20208" y2="62840"/>
                        <a14:foregroundMark x1="15417" y1="78852" x2="16250" y2="75831"/>
                        <a14:foregroundMark x1="71042" y1="91239" x2="72292" y2="66465"/>
                        <a14:foregroundMark x1="26458" y1="6647" x2="29167" y2="78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549" r="19510" b="2858"/>
          <a:stretch/>
        </p:blipFill>
        <p:spPr bwMode="auto">
          <a:xfrm>
            <a:off x="1618788" y="5861947"/>
            <a:ext cx="903389" cy="890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170260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/>
          <p:cNvSpPr/>
          <p:nvPr/>
        </p:nvSpPr>
        <p:spPr>
          <a:xfrm>
            <a:off x="9124868" y="2427204"/>
            <a:ext cx="2176143" cy="217614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00" y="405873"/>
            <a:ext cx="778603" cy="540442"/>
          </a:xfrm>
          <a:prstGeom prst="rect">
            <a:avLst/>
          </a:prstGeom>
        </p:spPr>
      </p:pic>
      <p:sp>
        <p:nvSpPr>
          <p:cNvPr id="6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989267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ibuting in all relevant dimensions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1230157" y="942365"/>
            <a:ext cx="95763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our 3 A’s model</a:t>
            </a:r>
            <a:endParaRPr kumimoji="0" lang="es-MX" sz="24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0967" y="2989622"/>
            <a:ext cx="1483946" cy="1161349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9565968" y="1814523"/>
            <a:ext cx="129394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inity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9050280" y="4786245"/>
            <a:ext cx="232531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shopp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vironmental ca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quency enabler</a:t>
            </a:r>
          </a:p>
        </p:txBody>
      </p:sp>
      <p:sp>
        <p:nvSpPr>
          <p:cNvPr id="12" name="Elipse 11"/>
          <p:cNvSpPr/>
          <p:nvPr/>
        </p:nvSpPr>
        <p:spPr>
          <a:xfrm>
            <a:off x="4956481" y="2439013"/>
            <a:ext cx="2176143" cy="217614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6765" y="2862071"/>
            <a:ext cx="1795574" cy="1405232"/>
          </a:xfrm>
          <a:prstGeom prst="rect">
            <a:avLst/>
          </a:prstGeom>
        </p:spPr>
      </p:pic>
      <p:sp>
        <p:nvSpPr>
          <p:cNvPr id="14" name="Rectángulo 13"/>
          <p:cNvSpPr/>
          <p:nvPr/>
        </p:nvSpPr>
        <p:spPr>
          <a:xfrm>
            <a:off x="5012891" y="1826332"/>
            <a:ext cx="206332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ordability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4862081" y="4798054"/>
            <a:ext cx="23649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etitive pr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t value equation</a:t>
            </a:r>
          </a:p>
        </p:txBody>
      </p:sp>
      <p:sp>
        <p:nvSpPr>
          <p:cNvPr id="17" name="Elipse 16"/>
          <p:cNvSpPr/>
          <p:nvPr/>
        </p:nvSpPr>
        <p:spPr>
          <a:xfrm>
            <a:off x="737373" y="2489049"/>
            <a:ext cx="2176143" cy="217614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937" y="2721013"/>
            <a:ext cx="503014" cy="1700331"/>
          </a:xfrm>
          <a:prstGeom prst="rect">
            <a:avLst/>
          </a:prstGeom>
        </p:spPr>
      </p:pic>
      <p:sp>
        <p:nvSpPr>
          <p:cNvPr id="19" name="Rectángulo 18"/>
          <p:cNvSpPr/>
          <p:nvPr/>
        </p:nvSpPr>
        <p:spPr>
          <a:xfrm>
            <a:off x="903943" y="1876368"/>
            <a:ext cx="184300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ailability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612063" y="4848090"/>
            <a:ext cx="24267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d and ready to enjoy (drinking experience)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4653192" y="6120068"/>
            <a:ext cx="283481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ility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!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3936275" y="2200016"/>
            <a:ext cx="0" cy="3018074"/>
          </a:xfrm>
          <a:prstGeom prst="line">
            <a:avLst/>
          </a:prstGeom>
          <a:ln w="25400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/>
          <p:cNvCxnSpPr/>
          <p:nvPr/>
        </p:nvCxnSpPr>
        <p:spPr>
          <a:xfrm>
            <a:off x="8098972" y="2200016"/>
            <a:ext cx="0" cy="3018074"/>
          </a:xfrm>
          <a:prstGeom prst="line">
            <a:avLst/>
          </a:prstGeom>
          <a:ln w="25400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lecha a la derecha con bandas 32"/>
          <p:cNvSpPr/>
          <p:nvPr/>
        </p:nvSpPr>
        <p:spPr>
          <a:xfrm rot="16200000">
            <a:off x="5754384" y="5532177"/>
            <a:ext cx="568114" cy="567875"/>
          </a:xfrm>
          <a:prstGeom prst="stripedRightArrow">
            <a:avLst>
              <a:gd name="adj1" fmla="val 50000"/>
              <a:gd name="adj2" fmla="val 7029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lecha a la derecha con bandas 33"/>
          <p:cNvSpPr/>
          <p:nvPr/>
        </p:nvSpPr>
        <p:spPr>
          <a:xfrm rot="18900000">
            <a:off x="7643979" y="5690471"/>
            <a:ext cx="939032" cy="567875"/>
          </a:xfrm>
          <a:prstGeom prst="stripedRightArrow">
            <a:avLst>
              <a:gd name="adj1" fmla="val 50000"/>
              <a:gd name="adj2" fmla="val 7029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lecha a la derecha con bandas 34"/>
          <p:cNvSpPr/>
          <p:nvPr/>
        </p:nvSpPr>
        <p:spPr>
          <a:xfrm rot="13500000">
            <a:off x="3460020" y="5690471"/>
            <a:ext cx="939032" cy="567875"/>
          </a:xfrm>
          <a:prstGeom prst="stripedRightArrow">
            <a:avLst>
              <a:gd name="adj1" fmla="val 50000"/>
              <a:gd name="adj2" fmla="val 7029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41695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n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00" y="405873"/>
            <a:ext cx="778603" cy="540442"/>
          </a:xfrm>
          <a:prstGeom prst="rect">
            <a:avLst/>
          </a:prstGeom>
        </p:spPr>
      </p:pic>
      <p:sp>
        <p:nvSpPr>
          <p:cNvPr id="31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10365317" cy="587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veraging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ility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CuadroTexto 31"/>
          <p:cNvSpPr txBox="1"/>
          <p:nvPr/>
        </p:nvSpPr>
        <p:spPr>
          <a:xfrm>
            <a:off x="7114239" y="470855"/>
            <a:ext cx="4031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 a Subscription Model</a:t>
            </a:r>
            <a:endParaRPr kumimoji="0" lang="es-MX" sz="28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ángulo 54"/>
          <p:cNvSpPr/>
          <p:nvPr/>
        </p:nvSpPr>
        <p:spPr>
          <a:xfrm>
            <a:off x="11628273" y="5327657"/>
            <a:ext cx="60640" cy="92501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CuadroTexto 55"/>
          <p:cNvSpPr txBox="1"/>
          <p:nvPr/>
        </p:nvSpPr>
        <p:spPr>
          <a:xfrm>
            <a:off x="8782970" y="5337921"/>
            <a:ext cx="265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ottle as the enabler or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access key”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r portfolio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2" name="Agrupar 61"/>
          <p:cNvGrpSpPr/>
          <p:nvPr/>
        </p:nvGrpSpPr>
        <p:grpSpPr>
          <a:xfrm>
            <a:off x="4706399" y="1699836"/>
            <a:ext cx="6607601" cy="4357460"/>
            <a:chOff x="2932797" y="1732617"/>
            <a:chExt cx="7268362" cy="4793206"/>
          </a:xfrm>
        </p:grpSpPr>
        <p:sp>
          <p:nvSpPr>
            <p:cNvPr id="61" name="Elipse 60"/>
            <p:cNvSpPr/>
            <p:nvPr/>
          </p:nvSpPr>
          <p:spPr>
            <a:xfrm>
              <a:off x="3910444" y="2349850"/>
              <a:ext cx="4326600" cy="3575703"/>
            </a:xfrm>
            <a:prstGeom prst="ellipse">
              <a:avLst/>
            </a:prstGeom>
            <a:noFill/>
            <a:ln w="25400">
              <a:solidFill>
                <a:srgbClr val="E8210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31">
              <a:extLst>
                <a:ext uri="{FF2B5EF4-FFF2-40B4-BE49-F238E27FC236}">
                  <a16:creationId xmlns:a16="http://schemas.microsoft.com/office/drawing/2014/main" id="{669530E5-1C7A-4F57-BCC7-BD32A034A3B6}"/>
                </a:ext>
              </a:extLst>
            </p:cNvPr>
            <p:cNvSpPr txBox="1"/>
            <p:nvPr/>
          </p:nvSpPr>
          <p:spPr>
            <a:xfrm>
              <a:off x="5009719" y="3846398"/>
              <a:ext cx="2208073" cy="9140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curring revenue flow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2" name="Imagen 4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 r="16578"/>
            <a:stretch/>
          </p:blipFill>
          <p:spPr>
            <a:xfrm>
              <a:off x="3213897" y="3416427"/>
              <a:ext cx="1440000" cy="1440000"/>
            </a:xfrm>
            <a:prstGeom prst="ellipse">
              <a:avLst/>
            </a:prstGeom>
            <a:ln w="63500">
              <a:solidFill>
                <a:schemeClr val="bg1"/>
              </a:solidFill>
            </a:ln>
            <a:effectLst>
              <a:outerShdw blurRad="254000" dist="38100" dir="2700000" sx="105000" sy="105000" algn="tl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43" name="CuadroTexto 42"/>
            <p:cNvSpPr txBox="1"/>
            <p:nvPr/>
          </p:nvSpPr>
          <p:spPr>
            <a:xfrm>
              <a:off x="2932797" y="5042630"/>
              <a:ext cx="12414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sumers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Elipse 43"/>
            <p:cNvSpPr/>
            <p:nvPr/>
          </p:nvSpPr>
          <p:spPr>
            <a:xfrm>
              <a:off x="5355523" y="5085823"/>
              <a:ext cx="1440000" cy="14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1" name="Agrupar 50"/>
            <p:cNvGrpSpPr/>
            <p:nvPr/>
          </p:nvGrpSpPr>
          <p:grpSpPr>
            <a:xfrm>
              <a:off x="7497149" y="3416427"/>
              <a:ext cx="1440000" cy="1440000"/>
              <a:chOff x="5261366" y="3416427"/>
              <a:chExt cx="1440000" cy="1440000"/>
            </a:xfrm>
          </p:grpSpPr>
          <p:sp>
            <p:nvSpPr>
              <p:cNvPr id="48" name="Elipse 47"/>
              <p:cNvSpPr/>
              <p:nvPr/>
            </p:nvSpPr>
            <p:spPr>
              <a:xfrm>
                <a:off x="5261366" y="3416427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0" dist="38100" dir="2700000" sx="105000" sy="105000" algn="tl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50" name="Picture 16">
                <a:extLst>
                  <a:ext uri="{FF2B5EF4-FFF2-40B4-BE49-F238E27FC236}">
                    <a16:creationId xmlns:a16="http://schemas.microsoft.com/office/drawing/2014/main" id="{9CDC2DCB-F924-45DD-BC5E-83D38CF018C8}"/>
                  </a:ext>
                </a:extLst>
              </p:cNvPr>
              <p:cNvPicPr>
                <a:picLocks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372966" y="3830427"/>
                <a:ext cx="1216800" cy="612000"/>
              </a:xfrm>
              <a:prstGeom prst="rect">
                <a:avLst/>
              </a:prstGeom>
            </p:spPr>
          </p:pic>
        </p:grpSp>
        <p:sp>
          <p:nvSpPr>
            <p:cNvPr id="53" name="Elipse 52"/>
            <p:cNvSpPr/>
            <p:nvPr/>
          </p:nvSpPr>
          <p:spPr>
            <a:xfrm>
              <a:off x="5355523" y="1732617"/>
              <a:ext cx="1440000" cy="14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8" name="Agrupar 57"/>
            <p:cNvGrpSpPr/>
            <p:nvPr/>
          </p:nvGrpSpPr>
          <p:grpSpPr>
            <a:xfrm>
              <a:off x="9051854" y="3669574"/>
              <a:ext cx="1149305" cy="989096"/>
              <a:chOff x="7193301" y="3639793"/>
              <a:chExt cx="1149305" cy="989096"/>
            </a:xfrm>
          </p:grpSpPr>
          <p:sp>
            <p:nvSpPr>
              <p:cNvPr id="6" name="TextBox 14">
                <a:extLst>
                  <a:ext uri="{FF2B5EF4-FFF2-40B4-BE49-F238E27FC236}">
                    <a16:creationId xmlns:a16="http://schemas.microsoft.com/office/drawing/2014/main" id="{05AB6210-175E-4571-B20D-575557BC8AD9}"/>
                  </a:ext>
                </a:extLst>
              </p:cNvPr>
              <p:cNvSpPr txBox="1"/>
              <p:nvPr/>
            </p:nvSpPr>
            <p:spPr>
              <a:xfrm>
                <a:off x="7224001" y="3639793"/>
                <a:ext cx="1069620" cy="6093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ustomer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+</a:t>
                </a:r>
              </a:p>
            </p:txBody>
          </p:sp>
          <p:pic>
            <p:nvPicPr>
              <p:cNvPr id="57" name="Imagen 56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93301" y="4267580"/>
                <a:ext cx="1149305" cy="361309"/>
              </a:xfrm>
              <a:prstGeom prst="rect">
                <a:avLst/>
              </a:prstGeom>
            </p:spPr>
          </p:pic>
        </p:grpSp>
        <p:pic>
          <p:nvPicPr>
            <p:cNvPr id="59" name="Imagen 5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90957" y="3441123"/>
              <a:ext cx="445595" cy="348727"/>
            </a:xfrm>
            <a:prstGeom prst="rect">
              <a:avLst/>
            </a:prstGeom>
          </p:spPr>
        </p:pic>
      </p:grpSp>
      <p:pic>
        <p:nvPicPr>
          <p:cNvPr id="73" name="Imagen 7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103054" y="4004971"/>
            <a:ext cx="4813179" cy="185995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5FE18B0A-F828-4D72-9414-DF60F9E874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07843" y="1723021"/>
            <a:ext cx="402946" cy="117438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8AC1235-B535-4FC9-A659-8E1D716940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40192" y="2078465"/>
            <a:ext cx="211827" cy="741754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CEA9ED15-4FDA-4C47-84FA-8B755E6E009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84470"/>
          <a:stretch/>
        </p:blipFill>
        <p:spPr>
          <a:xfrm>
            <a:off x="7114239" y="4798179"/>
            <a:ext cx="395621" cy="1170059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3CF3433E-2528-4D4B-9D13-37F595B5910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74776" y="5173694"/>
            <a:ext cx="222794" cy="732986"/>
          </a:xfrm>
          <a:prstGeom prst="rect">
            <a:avLst/>
          </a:prstGeom>
        </p:spPr>
      </p:pic>
      <p:sp>
        <p:nvSpPr>
          <p:cNvPr id="37" name="Rectángulo redondeado 81">
            <a:extLst>
              <a:ext uri="{FF2B5EF4-FFF2-40B4-BE49-F238E27FC236}">
                <a16:creationId xmlns:a16="http://schemas.microsoft.com/office/drawing/2014/main" id="{023FBA00-6D08-40F2-98F5-72A72E2A8E74}"/>
              </a:ext>
            </a:extLst>
          </p:cNvPr>
          <p:cNvSpPr/>
          <p:nvPr/>
        </p:nvSpPr>
        <p:spPr>
          <a:xfrm>
            <a:off x="752040" y="1266264"/>
            <a:ext cx="3073674" cy="621203"/>
          </a:xfrm>
          <a:prstGeom prst="roundRect">
            <a:avLst>
              <a:gd name="adj" fmla="val 23733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ángulo redondeado 64">
            <a:extLst>
              <a:ext uri="{FF2B5EF4-FFF2-40B4-BE49-F238E27FC236}">
                <a16:creationId xmlns:a16="http://schemas.microsoft.com/office/drawing/2014/main" id="{014A7D4B-237B-41B2-B606-43CCBADB6F7B}"/>
              </a:ext>
            </a:extLst>
          </p:cNvPr>
          <p:cNvSpPr/>
          <p:nvPr/>
        </p:nvSpPr>
        <p:spPr>
          <a:xfrm>
            <a:off x="752040" y="2010591"/>
            <a:ext cx="3073674" cy="4592530"/>
          </a:xfrm>
          <a:prstGeom prst="roundRect">
            <a:avLst>
              <a:gd name="adj" fmla="val 6633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CuadroTexto 62">
            <a:extLst>
              <a:ext uri="{FF2B5EF4-FFF2-40B4-BE49-F238E27FC236}">
                <a16:creationId xmlns:a16="http://schemas.microsoft.com/office/drawing/2014/main" id="{DD808B52-0EAC-45CB-B746-7C327EAAAB4D}"/>
              </a:ext>
            </a:extLst>
          </p:cNvPr>
          <p:cNvSpPr txBox="1"/>
          <p:nvPr/>
        </p:nvSpPr>
        <p:spPr>
          <a:xfrm>
            <a:off x="853388" y="1367563"/>
            <a:ext cx="2870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’s a Subscription Economy!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" name="Picture 2" descr="Image result for netflix">
            <a:extLst>
              <a:ext uri="{FF2B5EF4-FFF2-40B4-BE49-F238E27FC236}">
                <a16:creationId xmlns:a16="http://schemas.microsoft.com/office/drawing/2014/main" id="{6205F6EB-BE4A-4DAB-A114-427D6DD992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032" y="2429103"/>
            <a:ext cx="1004372" cy="466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">
            <a:extLst>
              <a:ext uri="{FF2B5EF4-FFF2-40B4-BE49-F238E27FC236}">
                <a16:creationId xmlns:a16="http://schemas.microsoft.com/office/drawing/2014/main" id="{0DEACE35-3221-4C59-BBBA-DC5A2157A13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36069" y="2518585"/>
            <a:ext cx="1202979" cy="353350"/>
          </a:xfrm>
          <a:prstGeom prst="rect">
            <a:avLst/>
          </a:prstGeom>
        </p:spPr>
      </p:pic>
      <p:pic>
        <p:nvPicPr>
          <p:cNvPr id="45" name="Picture 5">
            <a:extLst>
              <a:ext uri="{FF2B5EF4-FFF2-40B4-BE49-F238E27FC236}">
                <a16:creationId xmlns:a16="http://schemas.microsoft.com/office/drawing/2014/main" id="{7CCABC27-77BF-4E60-AFBB-E538A79C051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58634" y="3175006"/>
            <a:ext cx="1998589" cy="499647"/>
          </a:xfrm>
          <a:prstGeom prst="rect">
            <a:avLst/>
          </a:prstGeom>
        </p:spPr>
      </p:pic>
      <p:pic>
        <p:nvPicPr>
          <p:cNvPr id="46" name="Picture 6">
            <a:extLst>
              <a:ext uri="{FF2B5EF4-FFF2-40B4-BE49-F238E27FC236}">
                <a16:creationId xmlns:a16="http://schemas.microsoft.com/office/drawing/2014/main" id="{A46D0B30-CA10-489C-B644-D3CF9F730ACA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6189" t="36017" r="6800" b="36819"/>
          <a:stretch/>
        </p:blipFill>
        <p:spPr>
          <a:xfrm>
            <a:off x="1045032" y="3977724"/>
            <a:ext cx="1147205" cy="358145"/>
          </a:xfrm>
          <a:prstGeom prst="rect">
            <a:avLst/>
          </a:prstGeom>
        </p:spPr>
      </p:pic>
      <p:pic>
        <p:nvPicPr>
          <p:cNvPr id="52" name="Picture 12" descr="Image result for carnivore club logo">
            <a:extLst>
              <a:ext uri="{FF2B5EF4-FFF2-40B4-BE49-F238E27FC236}">
                <a16:creationId xmlns:a16="http://schemas.microsoft.com/office/drawing/2014/main" id="{C1F07EA3-CBEA-4E61-82D0-983CB601C7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62" r="36028"/>
          <a:stretch/>
        </p:blipFill>
        <p:spPr bwMode="auto">
          <a:xfrm>
            <a:off x="2537230" y="3804663"/>
            <a:ext cx="943491" cy="580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ector recto 78">
            <a:extLst>
              <a:ext uri="{FF2B5EF4-FFF2-40B4-BE49-F238E27FC236}">
                <a16:creationId xmlns:a16="http://schemas.microsoft.com/office/drawing/2014/main" id="{30098E2B-436E-460C-B30B-3FFF26C3A5FA}"/>
              </a:ext>
            </a:extLst>
          </p:cNvPr>
          <p:cNvCxnSpPr/>
          <p:nvPr/>
        </p:nvCxnSpPr>
        <p:spPr>
          <a:xfrm>
            <a:off x="1073612" y="4737240"/>
            <a:ext cx="2430530" cy="0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Imagen 82">
            <a:extLst>
              <a:ext uri="{FF2B5EF4-FFF2-40B4-BE49-F238E27FC236}">
                <a16:creationId xmlns:a16="http://schemas.microsoft.com/office/drawing/2014/main" id="{CFA86FCE-1840-4705-AAF1-57601867CD84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709089" y="5812051"/>
            <a:ext cx="1167241" cy="117023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003F7142-0007-467A-844E-996D8F020A6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40198" y="4915871"/>
            <a:ext cx="2815873" cy="127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10658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36694" y="304131"/>
            <a:ext cx="10267733" cy="621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Returnability virtuous cycle…</a:t>
            </a:r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41" y="147948"/>
            <a:ext cx="719328" cy="719328"/>
          </a:xfrm>
          <a:prstGeom prst="rect">
            <a:avLst/>
          </a:prstGeom>
        </p:spPr>
      </p:pic>
      <p:sp>
        <p:nvSpPr>
          <p:cNvPr id="6" name="Elipse 5"/>
          <p:cNvSpPr/>
          <p:nvPr/>
        </p:nvSpPr>
        <p:spPr>
          <a:xfrm>
            <a:off x="2505921" y="2045793"/>
            <a:ext cx="6733772" cy="3590611"/>
          </a:xfrm>
          <a:prstGeom prst="ellipse">
            <a:avLst/>
          </a:prstGeom>
          <a:noFill/>
          <a:ln w="254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4391554">
            <a:off x="4246354" y="2063315"/>
            <a:ext cx="348315" cy="328577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/>
          <p:cNvSpPr txBox="1"/>
          <p:nvPr/>
        </p:nvSpPr>
        <p:spPr>
          <a:xfrm>
            <a:off x="-7876" y="4170255"/>
            <a:ext cx="2148359" cy="979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</a:t>
            </a: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reinforce the </a:t>
            </a: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 habit </a:t>
            </a: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ough fully integrated 360 Plans for all stakeholders</a:t>
            </a:r>
          </a:p>
        </p:txBody>
      </p:sp>
      <p:sp>
        <p:nvSpPr>
          <p:cNvPr id="43" name="Rectángulo 42"/>
          <p:cNvSpPr/>
          <p:nvPr/>
        </p:nvSpPr>
        <p:spPr>
          <a:xfrm>
            <a:off x="2148796" y="4147600"/>
            <a:ext cx="62991" cy="10245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CuadroTexto 43"/>
          <p:cNvSpPr txBox="1"/>
          <p:nvPr/>
        </p:nvSpPr>
        <p:spPr>
          <a:xfrm>
            <a:off x="9588237" y="4147600"/>
            <a:ext cx="2127003" cy="729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e of the art </a:t>
            </a: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on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ealing and call to action </a:t>
            </a: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ion</a:t>
            </a:r>
            <a:endParaRPr kumimoji="0" lang="es-MX" sz="1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ctángulo 44"/>
          <p:cNvSpPr/>
          <p:nvPr/>
        </p:nvSpPr>
        <p:spPr>
          <a:xfrm>
            <a:off x="9522788" y="4095321"/>
            <a:ext cx="45719" cy="7813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6833408" y="1349790"/>
            <a:ext cx="3637620" cy="51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listic OBPPC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affordability + value)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al bottle</a:t>
            </a:r>
          </a:p>
        </p:txBody>
      </p:sp>
      <p:sp>
        <p:nvSpPr>
          <p:cNvPr id="47" name="Rectángulo 46"/>
          <p:cNvSpPr/>
          <p:nvPr/>
        </p:nvSpPr>
        <p:spPr>
          <a:xfrm>
            <a:off x="6736946" y="1299914"/>
            <a:ext cx="62991" cy="6998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ángulo redondeado 59"/>
          <p:cNvSpPr/>
          <p:nvPr/>
        </p:nvSpPr>
        <p:spPr>
          <a:xfrm>
            <a:off x="2328529" y="6154278"/>
            <a:ext cx="7259707" cy="426281"/>
          </a:xfrm>
          <a:prstGeom prst="roundRect">
            <a:avLst>
              <a:gd name="adj" fmla="val 23733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2700000" sx="102000" sy="102000" algn="tl" rotWithShape="0">
              <a:schemeClr val="tx1">
                <a:lumMod val="75000"/>
                <a:lumOff val="2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CuadroTexto 60"/>
          <p:cNvSpPr txBox="1"/>
          <p:nvPr/>
        </p:nvSpPr>
        <p:spPr>
          <a:xfrm>
            <a:off x="3568767" y="6197858"/>
            <a:ext cx="5102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rs, Processes, KPI´s &amp; Continuous investment</a:t>
            </a:r>
          </a:p>
        </p:txBody>
      </p:sp>
      <p:pic>
        <p:nvPicPr>
          <p:cNvPr id="37" name="Picture 13" descr="CAP">
            <a:extLst>
              <a:ext uri="{FF2B5EF4-FFF2-40B4-BE49-F238E27FC236}">
                <a16:creationId xmlns:a16="http://schemas.microsoft.com/office/drawing/2014/main" id="{64A82F37-A6FA-034E-9990-C3D2D688AA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E1"/>
              </a:clrFrom>
              <a:clrTo>
                <a:srgbClr val="FFFFE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8586" y="2538848"/>
            <a:ext cx="2999376" cy="272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C004665B-40FB-004F-A4A7-0C03151DDB1E}"/>
              </a:ext>
            </a:extLst>
          </p:cNvPr>
          <p:cNvSpPr txBox="1"/>
          <p:nvPr/>
        </p:nvSpPr>
        <p:spPr>
          <a:xfrm>
            <a:off x="4766546" y="3262264"/>
            <a:ext cx="2136361" cy="96295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itab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2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 Base</a:t>
            </a:r>
          </a:p>
          <a:p>
            <a:pPr marL="0" marR="0" lvl="0" indent="0" algn="ctr" defTabSz="914400" rtl="0" eaLnBrk="1" fontAlgn="auto" latinLnBrk="0" hangingPunct="1">
              <a:lnSpc>
                <a:spcPts val="2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wth</a:t>
            </a:r>
          </a:p>
        </p:txBody>
      </p:sp>
      <p:sp>
        <p:nvSpPr>
          <p:cNvPr id="39" name="Rectangle 171">
            <a:extLst>
              <a:ext uri="{FF2B5EF4-FFF2-40B4-BE49-F238E27FC236}">
                <a16:creationId xmlns:a16="http://schemas.microsoft.com/office/drawing/2014/main" id="{90C9A913-5849-0749-9C0D-41877641ECF7}"/>
              </a:ext>
            </a:extLst>
          </p:cNvPr>
          <p:cNvSpPr/>
          <p:nvPr/>
        </p:nvSpPr>
        <p:spPr>
          <a:xfrm>
            <a:off x="5419608" y="4616441"/>
            <a:ext cx="857406" cy="212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9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rgbClr val="FFFFFF"/>
                </a:solidFill>
                <a:latin typeface="Gotham"/>
                <a:ea typeface="Gotham"/>
                <a:cs typeface="Gotham"/>
                <a:sym typeface="Gotham"/>
              </a:defRPr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Gotham"/>
              </a:rPr>
              <a:t>Consumer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Gotham"/>
            </a:endParaRPr>
          </a:p>
        </p:txBody>
      </p:sp>
      <p:pic>
        <p:nvPicPr>
          <p:cNvPr id="50" name="Imagen 49">
            <a:extLst>
              <a:ext uri="{FF2B5EF4-FFF2-40B4-BE49-F238E27FC236}">
                <a16:creationId xmlns:a16="http://schemas.microsoft.com/office/drawing/2014/main" id="{640D0731-F5A0-B542-890D-3594BDD3005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674" b="100000" l="8780" r="9561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5006" y="4107574"/>
            <a:ext cx="461239" cy="537739"/>
          </a:xfrm>
          <a:prstGeom prst="rect">
            <a:avLst/>
          </a:prstGeom>
        </p:spPr>
      </p:pic>
      <p:sp>
        <p:nvSpPr>
          <p:cNvPr id="29" name="Triángulo 28">
            <a:extLst>
              <a:ext uri="{FF2B5EF4-FFF2-40B4-BE49-F238E27FC236}">
                <a16:creationId xmlns:a16="http://schemas.microsoft.com/office/drawing/2014/main" id="{13CBDC66-DE56-9642-A0EC-0C9AD84037BC}"/>
              </a:ext>
            </a:extLst>
          </p:cNvPr>
          <p:cNvSpPr/>
          <p:nvPr/>
        </p:nvSpPr>
        <p:spPr>
          <a:xfrm rot="7797355">
            <a:off x="8331788" y="2545089"/>
            <a:ext cx="348315" cy="328577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riángulo 33">
            <a:extLst>
              <a:ext uri="{FF2B5EF4-FFF2-40B4-BE49-F238E27FC236}">
                <a16:creationId xmlns:a16="http://schemas.microsoft.com/office/drawing/2014/main" id="{74FDC790-D344-584E-A567-E2AA1E80E586}"/>
              </a:ext>
            </a:extLst>
          </p:cNvPr>
          <p:cNvSpPr/>
          <p:nvPr/>
        </p:nvSpPr>
        <p:spPr>
          <a:xfrm rot="16200000">
            <a:off x="5706224" y="5473562"/>
            <a:ext cx="348315" cy="328577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5BA8161C-2C4E-B243-871D-F3EB98C27945}"/>
              </a:ext>
            </a:extLst>
          </p:cNvPr>
          <p:cNvSpPr/>
          <p:nvPr/>
        </p:nvSpPr>
        <p:spPr>
          <a:xfrm>
            <a:off x="1897169" y="2785617"/>
            <a:ext cx="1446004" cy="1446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07F4D9FF-6B6A-0445-A730-86B86C907C0D}"/>
              </a:ext>
            </a:extLst>
          </p:cNvPr>
          <p:cNvSpPr/>
          <p:nvPr/>
        </p:nvSpPr>
        <p:spPr>
          <a:xfrm>
            <a:off x="1769770" y="3080246"/>
            <a:ext cx="16983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</a:t>
            </a:r>
            <a:r>
              <a:rPr kumimoji="0" lang="es-MX" sz="22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ement</a:t>
            </a:r>
          </a:p>
        </p:txBody>
      </p:sp>
      <p:pic>
        <p:nvPicPr>
          <p:cNvPr id="33" name="Imagen 32">
            <a:extLst>
              <a:ext uri="{FF2B5EF4-FFF2-40B4-BE49-F238E27FC236}">
                <a16:creationId xmlns:a16="http://schemas.microsoft.com/office/drawing/2014/main" id="{833E85FC-375A-974D-955B-E18E8F34B4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75856" flipH="1">
            <a:off x="1818389" y="2332038"/>
            <a:ext cx="667340" cy="653935"/>
          </a:xfrm>
          <a:prstGeom prst="rect">
            <a:avLst/>
          </a:prstGeom>
        </p:spPr>
      </p:pic>
      <p:sp>
        <p:nvSpPr>
          <p:cNvPr id="35" name="Elipse 34">
            <a:extLst>
              <a:ext uri="{FF2B5EF4-FFF2-40B4-BE49-F238E27FC236}">
                <a16:creationId xmlns:a16="http://schemas.microsoft.com/office/drawing/2014/main" id="{4820B99D-FC39-D443-BE31-21422D57191E}"/>
              </a:ext>
            </a:extLst>
          </p:cNvPr>
          <p:cNvSpPr/>
          <p:nvPr/>
        </p:nvSpPr>
        <p:spPr>
          <a:xfrm>
            <a:off x="5104137" y="900232"/>
            <a:ext cx="1446004" cy="1446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FEA2A596-045D-9A45-AF3F-E7185C49AC83}"/>
              </a:ext>
            </a:extLst>
          </p:cNvPr>
          <p:cNvSpPr/>
          <p:nvPr/>
        </p:nvSpPr>
        <p:spPr>
          <a:xfrm>
            <a:off x="5139047" y="1168072"/>
            <a:ext cx="1402232" cy="712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ning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folio</a:t>
            </a:r>
            <a:endParaRPr kumimoji="0" lang="es-MX" sz="1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0" name="Agrupar 40">
            <a:extLst>
              <a:ext uri="{FF2B5EF4-FFF2-40B4-BE49-F238E27FC236}">
                <a16:creationId xmlns:a16="http://schemas.microsoft.com/office/drawing/2014/main" id="{8951D95F-D435-8540-812C-49CF7E31BBBB}"/>
              </a:ext>
            </a:extLst>
          </p:cNvPr>
          <p:cNvGrpSpPr/>
          <p:nvPr/>
        </p:nvGrpSpPr>
        <p:grpSpPr>
          <a:xfrm>
            <a:off x="4737839" y="1753311"/>
            <a:ext cx="630350" cy="630350"/>
            <a:chOff x="6527415" y="1441542"/>
            <a:chExt cx="693385" cy="693385"/>
          </a:xfrm>
        </p:grpSpPr>
        <p:sp>
          <p:nvSpPr>
            <p:cNvPr id="41" name="Elipse 40">
              <a:extLst>
                <a:ext uri="{FF2B5EF4-FFF2-40B4-BE49-F238E27FC236}">
                  <a16:creationId xmlns:a16="http://schemas.microsoft.com/office/drawing/2014/main" id="{832B791F-25F0-CD46-86E3-8F772FA3CDB1}"/>
                </a:ext>
              </a:extLst>
            </p:cNvPr>
            <p:cNvSpPr/>
            <p:nvPr/>
          </p:nvSpPr>
          <p:spPr>
            <a:xfrm>
              <a:off x="6527415" y="1441542"/>
              <a:ext cx="693385" cy="6933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9" name="Imagen 48">
              <a:extLst>
                <a:ext uri="{FF2B5EF4-FFF2-40B4-BE49-F238E27FC236}">
                  <a16:creationId xmlns:a16="http://schemas.microsoft.com/office/drawing/2014/main" id="{B0E64A7F-19C8-C04C-A4DA-BB12CE0138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1059" y="1548265"/>
              <a:ext cx="445521" cy="479485"/>
            </a:xfrm>
            <a:prstGeom prst="rect">
              <a:avLst/>
            </a:prstGeom>
          </p:spPr>
        </p:pic>
      </p:grpSp>
      <p:sp>
        <p:nvSpPr>
          <p:cNvPr id="55" name="Elipse 54">
            <a:extLst>
              <a:ext uri="{FF2B5EF4-FFF2-40B4-BE49-F238E27FC236}">
                <a16:creationId xmlns:a16="http://schemas.microsoft.com/office/drawing/2014/main" id="{0F78B0F0-415A-9D4D-8D09-CB16A2156E11}"/>
              </a:ext>
            </a:extLst>
          </p:cNvPr>
          <p:cNvSpPr/>
          <p:nvPr/>
        </p:nvSpPr>
        <p:spPr>
          <a:xfrm>
            <a:off x="8337675" y="2861505"/>
            <a:ext cx="1446004" cy="1446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DE3DE640-3318-3B46-BC0D-362F059E2706}"/>
              </a:ext>
            </a:extLst>
          </p:cNvPr>
          <p:cNvSpPr/>
          <p:nvPr/>
        </p:nvSpPr>
        <p:spPr>
          <a:xfrm>
            <a:off x="8242172" y="3230564"/>
            <a:ext cx="1646817" cy="712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standing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e</a:t>
            </a:r>
            <a:endParaRPr kumimoji="0" lang="es-MX" sz="1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7" name="Imagen 56">
            <a:extLst>
              <a:ext uri="{FF2B5EF4-FFF2-40B4-BE49-F238E27FC236}">
                <a16:creationId xmlns:a16="http://schemas.microsoft.com/office/drawing/2014/main" id="{50375327-7FC5-1C4B-8AC4-BF36A55C059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763" y="2624283"/>
            <a:ext cx="494536" cy="67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29609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4ZYh04W_oG8OxoH84ZF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04</TotalTime>
  <Words>735</Words>
  <Application>Microsoft Office PowerPoint</Application>
  <PresentationFormat>Widescreen</PresentationFormat>
  <Paragraphs>196</Paragraphs>
  <Slides>18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2" baseType="lpstr">
      <vt:lpstr>Arial</vt:lpstr>
      <vt:lpstr>Calibri</vt:lpstr>
      <vt:lpstr>Calibri Light</vt:lpstr>
      <vt:lpstr>Gotham</vt:lpstr>
      <vt:lpstr>Symbol</vt:lpstr>
      <vt:lpstr>TCCC-UnityHeadline</vt:lpstr>
      <vt:lpstr>TCCC-UnityText</vt:lpstr>
      <vt:lpstr>Wingdings</vt:lpstr>
      <vt:lpstr>Office Theme</vt:lpstr>
      <vt:lpstr>Tema de Office</vt:lpstr>
      <vt:lpstr>1_Tema de Office</vt:lpstr>
      <vt:lpstr>2_Tema de Office</vt:lpstr>
      <vt:lpstr>1_Office Theme</vt:lpstr>
      <vt:lpstr>think-cell Slide</vt:lpstr>
      <vt:lpstr>Returnables/ Refillables are a powerful tool to drive Category Leadership</vt:lpstr>
      <vt:lpstr>The business imperativ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Martinez</dc:creator>
  <cp:lastModifiedBy>John Martinez</cp:lastModifiedBy>
  <cp:revision>713</cp:revision>
  <dcterms:created xsi:type="dcterms:W3CDTF">2021-10-19T16:49:31Z</dcterms:created>
  <dcterms:modified xsi:type="dcterms:W3CDTF">2021-11-11T00:0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02bf62-88e6-456d-b298-e2abb13de1ea_Enabled">
    <vt:lpwstr>true</vt:lpwstr>
  </property>
  <property fmtid="{D5CDD505-2E9C-101B-9397-08002B2CF9AE}" pid="3" name="MSIP_Label_0702bf62-88e6-456d-b298-e2abb13de1ea_SetDate">
    <vt:lpwstr>2021-10-19T17:01:35Z</vt:lpwstr>
  </property>
  <property fmtid="{D5CDD505-2E9C-101B-9397-08002B2CF9AE}" pid="4" name="MSIP_Label_0702bf62-88e6-456d-b298-e2abb13de1ea_Method">
    <vt:lpwstr>Standard</vt:lpwstr>
  </property>
  <property fmtid="{D5CDD505-2E9C-101B-9397-08002B2CF9AE}" pid="5" name="MSIP_Label_0702bf62-88e6-456d-b298-e2abb13de1ea_Name">
    <vt:lpwstr>0702bf62-88e6-456d-b298-e2abb13de1ea</vt:lpwstr>
  </property>
  <property fmtid="{D5CDD505-2E9C-101B-9397-08002B2CF9AE}" pid="6" name="MSIP_Label_0702bf62-88e6-456d-b298-e2abb13de1ea_SiteId">
    <vt:lpwstr>548d26ab-8caa-49e1-97c2-a1b1a06cc39c</vt:lpwstr>
  </property>
  <property fmtid="{D5CDD505-2E9C-101B-9397-08002B2CF9AE}" pid="7" name="MSIP_Label_0702bf62-88e6-456d-b298-e2abb13de1ea_ActionId">
    <vt:lpwstr>43301e94-7d49-45e5-899c-abf8ad6e2662</vt:lpwstr>
  </property>
  <property fmtid="{D5CDD505-2E9C-101B-9397-08002B2CF9AE}" pid="8" name="MSIP_Label_0702bf62-88e6-456d-b298-e2abb13de1ea_ContentBits">
    <vt:lpwstr>2</vt:lpwstr>
  </property>
</Properties>
</file>